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8" r:id="rId1"/>
    <p:sldMasterId id="2147483736" r:id="rId2"/>
    <p:sldMasterId id="2147483767" r:id="rId3"/>
    <p:sldMasterId id="2147483778" r:id="rId4"/>
  </p:sldMasterIdLst>
  <p:notesMasterIdLst>
    <p:notesMasterId r:id="rId26"/>
  </p:notesMasterIdLst>
  <p:handoutMasterIdLst>
    <p:handoutMasterId r:id="rId27"/>
  </p:handoutMasterIdLst>
  <p:sldIdLst>
    <p:sldId id="281" r:id="rId5"/>
    <p:sldId id="571" r:id="rId6"/>
    <p:sldId id="553" r:id="rId7"/>
    <p:sldId id="554" r:id="rId8"/>
    <p:sldId id="555" r:id="rId9"/>
    <p:sldId id="556" r:id="rId10"/>
    <p:sldId id="557" r:id="rId11"/>
    <p:sldId id="558" r:id="rId12"/>
    <p:sldId id="560" r:id="rId13"/>
    <p:sldId id="559" r:id="rId14"/>
    <p:sldId id="561" r:id="rId15"/>
    <p:sldId id="562" r:id="rId16"/>
    <p:sldId id="563" r:id="rId17"/>
    <p:sldId id="564" r:id="rId18"/>
    <p:sldId id="565" r:id="rId19"/>
    <p:sldId id="566" r:id="rId20"/>
    <p:sldId id="567" r:id="rId21"/>
    <p:sldId id="568" r:id="rId22"/>
    <p:sldId id="569" r:id="rId23"/>
    <p:sldId id="570" r:id="rId24"/>
    <p:sldId id="551" r:id="rId25"/>
  </p:sldIdLst>
  <p:sldSz cx="9144000" cy="5143500" type="screen16x9"/>
  <p:notesSz cx="10234613" cy="7104063"/>
  <p:custDataLst>
    <p:tags r:id="rId28"/>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General and Introduction" id="{AA6D020C-0D92-4799-849E-F6EC330848B7}">
          <p14:sldIdLst>
            <p14:sldId id="281"/>
            <p14:sldId id="571"/>
          </p14:sldIdLst>
        </p14:section>
        <p14:section name="Production and Operation Twin" id="{34375485-A7A0-4699-AE6A-D3C9E0E5BB85}">
          <p14:sldIdLst>
            <p14:sldId id="553"/>
            <p14:sldId id="554"/>
            <p14:sldId id="555"/>
            <p14:sldId id="556"/>
            <p14:sldId id="557"/>
            <p14:sldId id="558"/>
            <p14:sldId id="560"/>
            <p14:sldId id="559"/>
            <p14:sldId id="561"/>
            <p14:sldId id="562"/>
          </p14:sldIdLst>
        </p14:section>
        <p14:section name="Engineering Twin" id="{58471228-A12A-4000-84A8-CA2A45B03166}">
          <p14:sldIdLst>
            <p14:sldId id="563"/>
            <p14:sldId id="564"/>
            <p14:sldId id="565"/>
            <p14:sldId id="566"/>
            <p14:sldId id="567"/>
            <p14:sldId id="568"/>
            <p14:sldId id="569"/>
            <p14:sldId id="570"/>
          </p14:sldIdLst>
        </p14:section>
        <p14:section name="Contact" id="{06B24CEA-00B4-4086-8E19-84FC88C13E07}">
          <p14:sldIdLst>
            <p14:sldId id="551"/>
          </p14:sldIdLst>
        </p14:section>
      </p14:sectionLst>
    </p:ext>
    <p:ext uri="{EFAFB233-063F-42B5-8137-9DF3F51BA10A}">
      <p15:sldGuideLst xmlns:p15="http://schemas.microsoft.com/office/powerpoint/2012/main">
        <p15:guide id="1" orient="horz" pos="2096" userDrawn="1">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239" userDrawn="1">
          <p15:clr>
            <a:srgbClr val="A4A3A4"/>
          </p15:clr>
        </p15:guide>
        <p15:guide id="2" pos="32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bastian Schweigert-Recksiek" initials="Sw" lastIdx="5" clrIdx="0">
    <p:extLst>
      <p:ext uri="{19B8F6BF-5375-455C-9EA6-DF929625EA0E}">
        <p15:presenceInfo xmlns:p15="http://schemas.microsoft.com/office/powerpoint/2012/main" userId="Sebastian Schweigert-Recksiek" providerId="None"/>
      </p:ext>
    </p:extLst>
  </p:cmAuthor>
  <p:cmAuthor id="2" name="Jakob Trauer" initials="JT" lastIdx="3" clrIdx="1">
    <p:extLst>
      <p:ext uri="{19B8F6BF-5375-455C-9EA6-DF929625EA0E}">
        <p15:presenceInfo xmlns:p15="http://schemas.microsoft.com/office/powerpoint/2012/main" userId="0b714a7c579ee085" providerId="Windows Live"/>
      </p:ext>
    </p:extLst>
  </p:cmAuthor>
  <p:cmAuthor id="3" name="Bharadwaj, Tilak" initials="BT" lastIdx="2" clrIdx="2">
    <p:extLst>
      <p:ext uri="{19B8F6BF-5375-455C-9EA6-DF929625EA0E}">
        <p15:presenceInfo xmlns:p15="http://schemas.microsoft.com/office/powerpoint/2012/main" userId="S-1-5-21-1499261727-55176102-3529509929-6066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8DA4"/>
    <a:srgbClr val="009AB4"/>
    <a:srgbClr val="00A5C0"/>
    <a:srgbClr val="00778A"/>
    <a:srgbClr val="005293"/>
    <a:srgbClr val="C7C7C6"/>
    <a:srgbClr val="9B9C9C"/>
    <a:srgbClr val="0086C0"/>
    <a:srgbClr val="0065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76CEF1-A6E3-49E3-8F70-F81E9495ECB4}" v="2393" dt="2023-08-17T14:23:29.053"/>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60" autoAdjust="0"/>
    <p:restoredTop sz="94249" autoAdjust="0"/>
  </p:normalViewPr>
  <p:slideViewPr>
    <p:cSldViewPr snapToGrid="0">
      <p:cViewPr varScale="1">
        <p:scale>
          <a:sx n="209" d="100"/>
          <a:sy n="209" d="100"/>
        </p:scale>
        <p:origin x="408" y="120"/>
      </p:cViewPr>
      <p:guideLst>
        <p:guide orient="horz" pos="2096"/>
        <p:guide pos="2880"/>
        <p:guide orient="horz" pos="16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239"/>
        <p:guide pos="32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uer" userId="aa8b9dc3-a64d-4cc6-bd4f-f46eb5f096c9" providerId="ADAL" clId="{5B76CEF1-A6E3-49E3-8F70-F81E9495ECB4}"/>
    <pc:docChg chg="undo redo custSel addSld delSld modSld sldOrd addMainMaster delMainMaster modMainMaster addSection modSection">
      <pc:chgData name="Trauer" userId="aa8b9dc3-a64d-4cc6-bd4f-f46eb5f096c9" providerId="ADAL" clId="{5B76CEF1-A6E3-49E3-8F70-F81E9495ECB4}" dt="2023-08-17T14:23:42.759" v="7109" actId="207"/>
      <pc:docMkLst>
        <pc:docMk/>
      </pc:docMkLst>
      <pc:sldChg chg="addSp delSp modSp mod modClrScheme chgLayout">
        <pc:chgData name="Trauer" userId="aa8b9dc3-a64d-4cc6-bd4f-f46eb5f096c9" providerId="ADAL" clId="{5B76CEF1-A6E3-49E3-8F70-F81E9495ECB4}" dt="2023-08-14T17:25:17.340" v="6596" actId="21"/>
        <pc:sldMkLst>
          <pc:docMk/>
          <pc:sldMk cId="1893863781" sldId="281"/>
        </pc:sldMkLst>
        <pc:spChg chg="mod ord">
          <ac:chgData name="Trauer" userId="aa8b9dc3-a64d-4cc6-bd4f-f46eb5f096c9" providerId="ADAL" clId="{5B76CEF1-A6E3-49E3-8F70-F81E9495ECB4}" dt="2023-08-14T17:13:22.824" v="6437" actId="113"/>
          <ac:spMkLst>
            <pc:docMk/>
            <pc:sldMk cId="1893863781" sldId="281"/>
            <ac:spMk id="2" creationId="{00000000-0000-0000-0000-000000000000}"/>
          </ac:spMkLst>
        </pc:spChg>
        <pc:spChg chg="add del mod ord">
          <ac:chgData name="Trauer" userId="aa8b9dc3-a64d-4cc6-bd4f-f46eb5f096c9" providerId="ADAL" clId="{5B76CEF1-A6E3-49E3-8F70-F81E9495ECB4}" dt="2023-08-14T17:21:11.239" v="6543"/>
          <ac:spMkLst>
            <pc:docMk/>
            <pc:sldMk cId="1893863781" sldId="281"/>
            <ac:spMk id="3" creationId="{AC8F72DE-3E73-F988-2E44-9F8FADFEFFA5}"/>
          </ac:spMkLst>
        </pc:spChg>
        <pc:spChg chg="del mod modVis">
          <ac:chgData name="Trauer" userId="aa8b9dc3-a64d-4cc6-bd4f-f46eb5f096c9" providerId="ADAL" clId="{5B76CEF1-A6E3-49E3-8F70-F81E9495ECB4}" dt="2023-08-14T17:18:55.986" v="6530" actId="478"/>
          <ac:spMkLst>
            <pc:docMk/>
            <pc:sldMk cId="1893863781" sldId="281"/>
            <ac:spMk id="6" creationId="{D51D9BB5-1C80-4629-B557-CAE012A89B5D}"/>
          </ac:spMkLst>
        </pc:spChg>
        <pc:spChg chg="del mod">
          <ac:chgData name="Trauer" userId="aa8b9dc3-a64d-4cc6-bd4f-f46eb5f096c9" providerId="ADAL" clId="{5B76CEF1-A6E3-49E3-8F70-F81E9495ECB4}" dt="2023-08-14T17:13:12.769" v="6435" actId="700"/>
          <ac:spMkLst>
            <pc:docMk/>
            <pc:sldMk cId="1893863781" sldId="281"/>
            <ac:spMk id="8" creationId="{40FBF26D-D848-4F14-A736-96065ABCA173}"/>
          </ac:spMkLst>
        </pc:spChg>
        <pc:spChg chg="del mod">
          <ac:chgData name="Trauer" userId="aa8b9dc3-a64d-4cc6-bd4f-f46eb5f096c9" providerId="ADAL" clId="{5B76CEF1-A6E3-49E3-8F70-F81E9495ECB4}" dt="2023-08-14T17:13:12.769" v="6435" actId="700"/>
          <ac:spMkLst>
            <pc:docMk/>
            <pc:sldMk cId="1893863781" sldId="281"/>
            <ac:spMk id="10" creationId="{02BA2F00-8CAE-42FE-B248-E9DEDDB8F0AC}"/>
          </ac:spMkLst>
        </pc:spChg>
        <pc:spChg chg="add del mod">
          <ac:chgData name="Trauer" userId="aa8b9dc3-a64d-4cc6-bd4f-f46eb5f096c9" providerId="ADAL" clId="{5B76CEF1-A6E3-49E3-8F70-F81E9495ECB4}" dt="2023-08-14T17:21:11.239" v="6543"/>
          <ac:spMkLst>
            <pc:docMk/>
            <pc:sldMk cId="1893863781" sldId="281"/>
            <ac:spMk id="12" creationId="{45D5EB57-38BA-62B1-1E74-7AA0EF528033}"/>
          </ac:spMkLst>
        </pc:spChg>
        <pc:spChg chg="mod">
          <ac:chgData name="Trauer" userId="aa8b9dc3-a64d-4cc6-bd4f-f46eb5f096c9" providerId="ADAL" clId="{5B76CEF1-A6E3-49E3-8F70-F81E9495ECB4}" dt="2023-08-14T17:19:18.178" v="6532"/>
          <ac:spMkLst>
            <pc:docMk/>
            <pc:sldMk cId="1893863781" sldId="281"/>
            <ac:spMk id="13" creationId="{5385B0C4-6ED0-E6DC-22A6-0F204C3A59F9}"/>
          </ac:spMkLst>
        </pc:spChg>
        <pc:spChg chg="add del">
          <ac:chgData name="Trauer" userId="aa8b9dc3-a64d-4cc6-bd4f-f46eb5f096c9" providerId="ADAL" clId="{5B76CEF1-A6E3-49E3-8F70-F81E9495ECB4}" dt="2023-08-14T17:20:37.864" v="6542"/>
          <ac:spMkLst>
            <pc:docMk/>
            <pc:sldMk cId="1893863781" sldId="281"/>
            <ac:spMk id="14" creationId="{978CEA50-F03E-92EA-1FCE-FF0D4CE7365A}"/>
          </ac:spMkLst>
        </pc:spChg>
        <pc:spChg chg="mod">
          <ac:chgData name="Trauer" userId="aa8b9dc3-a64d-4cc6-bd4f-f46eb5f096c9" providerId="ADAL" clId="{5B76CEF1-A6E3-49E3-8F70-F81E9495ECB4}" dt="2023-08-14T17:21:11.239" v="6543"/>
          <ac:spMkLst>
            <pc:docMk/>
            <pc:sldMk cId="1893863781" sldId="281"/>
            <ac:spMk id="15" creationId="{AAEAFF3A-11F0-FD3B-47A3-0F9D4F2CD180}"/>
          </ac:spMkLst>
        </pc:spChg>
        <pc:graphicFrameChg chg="mod modVis">
          <ac:chgData name="Trauer" userId="aa8b9dc3-a64d-4cc6-bd4f-f46eb5f096c9" providerId="ADAL" clId="{5B76CEF1-A6E3-49E3-8F70-F81E9495ECB4}" dt="2023-08-14T17:18:32.297" v="6525" actId="14429"/>
          <ac:graphicFrameMkLst>
            <pc:docMk/>
            <pc:sldMk cId="1893863781" sldId="281"/>
            <ac:graphicFrameMk id="5" creationId="{00000000-0000-0000-0000-000000000000}"/>
          </ac:graphicFrameMkLst>
        </pc:graphicFrameChg>
        <pc:picChg chg="add del mod">
          <ac:chgData name="Trauer" userId="aa8b9dc3-a64d-4cc6-bd4f-f46eb5f096c9" providerId="ADAL" clId="{5B76CEF1-A6E3-49E3-8F70-F81E9495ECB4}" dt="2023-08-14T17:16:25.509" v="6446" actId="478"/>
          <ac:picMkLst>
            <pc:docMk/>
            <pc:sldMk cId="1893863781" sldId="281"/>
            <ac:picMk id="7" creationId="{470862BB-6FB5-CBE0-1673-AA48E1954280}"/>
          </ac:picMkLst>
        </pc:picChg>
        <pc:picChg chg="add mod modCrop">
          <ac:chgData name="Trauer" userId="aa8b9dc3-a64d-4cc6-bd4f-f46eb5f096c9" providerId="ADAL" clId="{5B76CEF1-A6E3-49E3-8F70-F81E9495ECB4}" dt="2023-08-14T17:21:51.419" v="6544" actId="14826"/>
          <ac:picMkLst>
            <pc:docMk/>
            <pc:sldMk cId="1893863781" sldId="281"/>
            <ac:picMk id="11" creationId="{353D4C4F-A576-D748-0D18-6FFA7C89A045}"/>
          </ac:picMkLst>
        </pc:picChg>
        <pc:picChg chg="add del mod">
          <ac:chgData name="Trauer" userId="aa8b9dc3-a64d-4cc6-bd4f-f46eb5f096c9" providerId="ADAL" clId="{5B76CEF1-A6E3-49E3-8F70-F81E9495ECB4}" dt="2023-08-14T17:24:24.791" v="6548"/>
          <ac:picMkLst>
            <pc:docMk/>
            <pc:sldMk cId="1893863781" sldId="281"/>
            <ac:picMk id="16" creationId="{C508EFEE-1D09-54DA-8AEC-6C13E5B8BB6B}"/>
          </ac:picMkLst>
        </pc:picChg>
        <pc:picChg chg="add del mod">
          <ac:chgData name="Trauer" userId="aa8b9dc3-a64d-4cc6-bd4f-f46eb5f096c9" providerId="ADAL" clId="{5B76CEF1-A6E3-49E3-8F70-F81E9495ECB4}" dt="2023-08-14T17:25:17.340" v="6596" actId="21"/>
          <ac:picMkLst>
            <pc:docMk/>
            <pc:sldMk cId="1893863781" sldId="281"/>
            <ac:picMk id="17" creationId="{7E944367-03D0-B5A6-9C03-C7CC400D30E6}"/>
          </ac:picMkLst>
        </pc:picChg>
      </pc:sldChg>
      <pc:sldChg chg="modSp mod">
        <pc:chgData name="Trauer" userId="aa8b9dc3-a64d-4cc6-bd4f-f46eb5f096c9" providerId="ADAL" clId="{5B76CEF1-A6E3-49E3-8F70-F81E9495ECB4}" dt="2023-08-14T16:14:48.931" v="3160" actId="34135"/>
        <pc:sldMkLst>
          <pc:docMk/>
          <pc:sldMk cId="4156186839" sldId="551"/>
        </pc:sldMkLst>
        <pc:spChg chg="mod">
          <ac:chgData name="Trauer" userId="aa8b9dc3-a64d-4cc6-bd4f-f46eb5f096c9" providerId="ADAL" clId="{5B76CEF1-A6E3-49E3-8F70-F81E9495ECB4}" dt="2023-08-14T16:14:48.931" v="3160" actId="34135"/>
          <ac:spMkLst>
            <pc:docMk/>
            <pc:sldMk cId="4156186839" sldId="551"/>
            <ac:spMk id="16" creationId="{FF4FDC95-67FE-4ADD-B9ED-8FF75BB42203}"/>
          </ac:spMkLst>
        </pc:spChg>
        <pc:grpChg chg="mod">
          <ac:chgData name="Trauer" userId="aa8b9dc3-a64d-4cc6-bd4f-f46eb5f096c9" providerId="ADAL" clId="{5B76CEF1-A6E3-49E3-8F70-F81E9495ECB4}" dt="2023-08-14T16:14:48.931" v="3160" actId="34135"/>
          <ac:grpSpMkLst>
            <pc:docMk/>
            <pc:sldMk cId="4156186839" sldId="551"/>
            <ac:grpSpMk id="13" creationId="{0FF6A37E-0618-466F-BF74-1BF34EBB705D}"/>
          </ac:grpSpMkLst>
        </pc:grpChg>
        <pc:grpChg chg="mod">
          <ac:chgData name="Trauer" userId="aa8b9dc3-a64d-4cc6-bd4f-f46eb5f096c9" providerId="ADAL" clId="{5B76CEF1-A6E3-49E3-8F70-F81E9495ECB4}" dt="2023-08-14T16:14:48.931" v="3160" actId="34135"/>
          <ac:grpSpMkLst>
            <pc:docMk/>
            <pc:sldMk cId="4156186839" sldId="551"/>
            <ac:grpSpMk id="14" creationId="{150FEE01-818C-4B89-BA4D-1B0DBCD29236}"/>
          </ac:grpSpMkLst>
        </pc:grpChg>
        <pc:picChg chg="mod">
          <ac:chgData name="Trauer" userId="aa8b9dc3-a64d-4cc6-bd4f-f46eb5f096c9" providerId="ADAL" clId="{5B76CEF1-A6E3-49E3-8F70-F81E9495ECB4}" dt="2023-08-14T16:14:48.931" v="3160" actId="34135"/>
          <ac:picMkLst>
            <pc:docMk/>
            <pc:sldMk cId="4156186839" sldId="551"/>
            <ac:picMk id="10" creationId="{F7C89432-F2BF-4117-A80A-DFCBE1DC0A1B}"/>
          </ac:picMkLst>
        </pc:picChg>
        <pc:picChg chg="mod">
          <ac:chgData name="Trauer" userId="aa8b9dc3-a64d-4cc6-bd4f-f46eb5f096c9" providerId="ADAL" clId="{5B76CEF1-A6E3-49E3-8F70-F81E9495ECB4}" dt="2023-08-14T16:14:48.931" v="3160" actId="34135"/>
          <ac:picMkLst>
            <pc:docMk/>
            <pc:sldMk cId="4156186839" sldId="551"/>
            <ac:picMk id="15" creationId="{B5506969-6BFE-47BE-A7C6-D082ADB0F2AB}"/>
          </ac:picMkLst>
        </pc:picChg>
        <pc:picChg chg="mod">
          <ac:chgData name="Trauer" userId="aa8b9dc3-a64d-4cc6-bd4f-f46eb5f096c9" providerId="ADAL" clId="{5B76CEF1-A6E3-49E3-8F70-F81E9495ECB4}" dt="2023-08-14T16:14:48.931" v="3160" actId="34135"/>
          <ac:picMkLst>
            <pc:docMk/>
            <pc:sldMk cId="4156186839" sldId="551"/>
            <ac:picMk id="17" creationId="{7B43A6EB-7AB0-4013-A356-EBA600C63AA7}"/>
          </ac:picMkLst>
        </pc:picChg>
        <pc:picChg chg="mod">
          <ac:chgData name="Trauer" userId="aa8b9dc3-a64d-4cc6-bd4f-f46eb5f096c9" providerId="ADAL" clId="{5B76CEF1-A6E3-49E3-8F70-F81E9495ECB4}" dt="2023-08-14T16:14:48.931" v="3160" actId="34135"/>
          <ac:picMkLst>
            <pc:docMk/>
            <pc:sldMk cId="4156186839" sldId="551"/>
            <ac:picMk id="18" creationId="{B3E7C472-C8A9-4540-A97C-AF7B8C058BAD}"/>
          </ac:picMkLst>
        </pc:picChg>
        <pc:picChg chg="mod">
          <ac:chgData name="Trauer" userId="aa8b9dc3-a64d-4cc6-bd4f-f46eb5f096c9" providerId="ADAL" clId="{5B76CEF1-A6E3-49E3-8F70-F81E9495ECB4}" dt="2023-08-14T16:14:48.931" v="3160" actId="34135"/>
          <ac:picMkLst>
            <pc:docMk/>
            <pc:sldMk cId="4156186839" sldId="551"/>
            <ac:picMk id="19" creationId="{7CC2DD1E-BD5E-4647-9D24-3C6CBB02FF3A}"/>
          </ac:picMkLst>
        </pc:picChg>
      </pc:sldChg>
      <pc:sldChg chg="delSp add del mod">
        <pc:chgData name="Trauer" userId="aa8b9dc3-a64d-4cc6-bd4f-f46eb5f096c9" providerId="ADAL" clId="{5B76CEF1-A6E3-49E3-8F70-F81E9495ECB4}" dt="2023-08-14T15:12:44.028" v="2363" actId="47"/>
        <pc:sldMkLst>
          <pc:docMk/>
          <pc:sldMk cId="3602706694" sldId="552"/>
        </pc:sldMkLst>
        <pc:spChg chg="del">
          <ac:chgData name="Trauer" userId="aa8b9dc3-a64d-4cc6-bd4f-f46eb5f096c9" providerId="ADAL" clId="{5B76CEF1-A6E3-49E3-8F70-F81E9495ECB4}" dt="2023-08-14T14:52:30.755" v="2177" actId="478"/>
          <ac:spMkLst>
            <pc:docMk/>
            <pc:sldMk cId="3602706694" sldId="552"/>
            <ac:spMk id="2" creationId="{FA7A4EE4-E6CD-D2C6-A683-B10E6F545B7A}"/>
          </ac:spMkLst>
        </pc:spChg>
        <pc:spChg chg="del">
          <ac:chgData name="Trauer" userId="aa8b9dc3-a64d-4cc6-bd4f-f46eb5f096c9" providerId="ADAL" clId="{5B76CEF1-A6E3-49E3-8F70-F81E9495ECB4}" dt="2023-08-14T14:52:30.755" v="2177" actId="478"/>
          <ac:spMkLst>
            <pc:docMk/>
            <pc:sldMk cId="3602706694" sldId="552"/>
            <ac:spMk id="3" creationId="{BFE3343C-B891-F695-E183-EFD2E0DE16EE}"/>
          </ac:spMkLst>
        </pc:spChg>
        <pc:spChg chg="del">
          <ac:chgData name="Trauer" userId="aa8b9dc3-a64d-4cc6-bd4f-f46eb5f096c9" providerId="ADAL" clId="{5B76CEF1-A6E3-49E3-8F70-F81E9495ECB4}" dt="2023-08-14T14:52:30.755" v="2177" actId="478"/>
          <ac:spMkLst>
            <pc:docMk/>
            <pc:sldMk cId="3602706694" sldId="552"/>
            <ac:spMk id="4" creationId="{E247F79F-C19E-07DA-A941-9E583E521B15}"/>
          </ac:spMkLst>
        </pc:spChg>
        <pc:spChg chg="del">
          <ac:chgData name="Trauer" userId="aa8b9dc3-a64d-4cc6-bd4f-f46eb5f096c9" providerId="ADAL" clId="{5B76CEF1-A6E3-49E3-8F70-F81E9495ECB4}" dt="2023-08-14T14:52:30.755" v="2177" actId="478"/>
          <ac:spMkLst>
            <pc:docMk/>
            <pc:sldMk cId="3602706694" sldId="552"/>
            <ac:spMk id="5" creationId="{91E4FB67-1B16-2994-23EC-8B3DDD3A1E5E}"/>
          </ac:spMkLst>
        </pc:spChg>
        <pc:spChg chg="del">
          <ac:chgData name="Trauer" userId="aa8b9dc3-a64d-4cc6-bd4f-f46eb5f096c9" providerId="ADAL" clId="{5B76CEF1-A6E3-49E3-8F70-F81E9495ECB4}" dt="2023-08-14T14:52:30.755" v="2177" actId="478"/>
          <ac:spMkLst>
            <pc:docMk/>
            <pc:sldMk cId="3602706694" sldId="552"/>
            <ac:spMk id="6" creationId="{79A02588-4417-5651-BD8B-90A5AFC95542}"/>
          </ac:spMkLst>
        </pc:spChg>
      </pc:sldChg>
      <pc:sldChg chg="addSp delSp modSp new add del mod modTransition chgLayout">
        <pc:chgData name="Trauer" userId="aa8b9dc3-a64d-4cc6-bd4f-f46eb5f096c9" providerId="ADAL" clId="{5B76CEF1-A6E3-49E3-8F70-F81E9495ECB4}" dt="2023-08-15T08:04:37.627" v="6630" actId="20577"/>
        <pc:sldMkLst>
          <pc:docMk/>
          <pc:sldMk cId="4105021165" sldId="553"/>
        </pc:sldMkLst>
        <pc:spChg chg="del">
          <ac:chgData name="Trauer" userId="aa8b9dc3-a64d-4cc6-bd4f-f46eb5f096c9" providerId="ADAL" clId="{5B76CEF1-A6E3-49E3-8F70-F81E9495ECB4}" dt="2023-08-14T15:22:19.760" v="2451" actId="700"/>
          <ac:spMkLst>
            <pc:docMk/>
            <pc:sldMk cId="4105021165" sldId="553"/>
            <ac:spMk id="2" creationId="{D0B3CC71-9050-BA6B-DA0F-C8D3F70AB3CB}"/>
          </ac:spMkLst>
        </pc:spChg>
        <pc:spChg chg="add mod">
          <ac:chgData name="Trauer" userId="aa8b9dc3-a64d-4cc6-bd4f-f46eb5f096c9" providerId="ADAL" clId="{5B76CEF1-A6E3-49E3-8F70-F81E9495ECB4}" dt="2023-08-14T17:26:39.753" v="6602" actId="34135"/>
          <ac:spMkLst>
            <pc:docMk/>
            <pc:sldMk cId="4105021165" sldId="553"/>
            <ac:spMk id="2" creationId="{DF4A2982-5DDB-9074-E4DC-B5A03FAFC24D}"/>
          </ac:spMkLst>
        </pc:spChg>
        <pc:spChg chg="del">
          <ac:chgData name="Trauer" userId="aa8b9dc3-a64d-4cc6-bd4f-f46eb5f096c9" providerId="ADAL" clId="{5B76CEF1-A6E3-49E3-8F70-F81E9495ECB4}" dt="2023-08-14T15:22:19.760" v="2451" actId="700"/>
          <ac:spMkLst>
            <pc:docMk/>
            <pc:sldMk cId="4105021165" sldId="553"/>
            <ac:spMk id="3" creationId="{539CB7D9-0225-83A8-63C0-4BD783943F86}"/>
          </ac:spMkLst>
        </pc:spChg>
        <pc:spChg chg="add mod">
          <ac:chgData name="Trauer" userId="aa8b9dc3-a64d-4cc6-bd4f-f46eb5f096c9" providerId="ADAL" clId="{5B76CEF1-A6E3-49E3-8F70-F81E9495ECB4}" dt="2023-08-14T17:26:39.753" v="6602" actId="34135"/>
          <ac:spMkLst>
            <pc:docMk/>
            <pc:sldMk cId="4105021165" sldId="553"/>
            <ac:spMk id="3" creationId="{700964B6-C35A-A619-E944-43BA0AA53887}"/>
          </ac:spMkLst>
        </pc:spChg>
        <pc:spChg chg="del">
          <ac:chgData name="Trauer" userId="aa8b9dc3-a64d-4cc6-bd4f-f46eb5f096c9" providerId="ADAL" clId="{5B76CEF1-A6E3-49E3-8F70-F81E9495ECB4}" dt="2023-08-14T15:22:19.760" v="2451" actId="700"/>
          <ac:spMkLst>
            <pc:docMk/>
            <pc:sldMk cId="4105021165" sldId="553"/>
            <ac:spMk id="4" creationId="{4B27BB87-9A5E-E3FD-4C0F-EE47A0E91C5B}"/>
          </ac:spMkLst>
        </pc:spChg>
        <pc:spChg chg="add mod">
          <ac:chgData name="Trauer" userId="aa8b9dc3-a64d-4cc6-bd4f-f46eb5f096c9" providerId="ADAL" clId="{5B76CEF1-A6E3-49E3-8F70-F81E9495ECB4}" dt="2023-08-14T17:26:39.753" v="6602" actId="34135"/>
          <ac:spMkLst>
            <pc:docMk/>
            <pc:sldMk cId="4105021165" sldId="553"/>
            <ac:spMk id="4" creationId="{6E04A507-C5BB-4E18-B720-DB2FF0AA9E66}"/>
          </ac:spMkLst>
        </pc:spChg>
        <pc:spChg chg="del">
          <ac:chgData name="Trauer" userId="aa8b9dc3-a64d-4cc6-bd4f-f46eb5f096c9" providerId="ADAL" clId="{5B76CEF1-A6E3-49E3-8F70-F81E9495ECB4}" dt="2023-08-14T15:22:19.760" v="2451" actId="700"/>
          <ac:spMkLst>
            <pc:docMk/>
            <pc:sldMk cId="4105021165" sldId="553"/>
            <ac:spMk id="5" creationId="{032AA683-3578-3B53-E308-7A2059F80F01}"/>
          </ac:spMkLst>
        </pc:spChg>
        <pc:spChg chg="add mod">
          <ac:chgData name="Trauer" userId="aa8b9dc3-a64d-4cc6-bd4f-f46eb5f096c9" providerId="ADAL" clId="{5B76CEF1-A6E3-49E3-8F70-F81E9495ECB4}" dt="2023-08-14T17:26:39.753" v="6602" actId="34135"/>
          <ac:spMkLst>
            <pc:docMk/>
            <pc:sldMk cId="4105021165" sldId="553"/>
            <ac:spMk id="5" creationId="{D706BEFB-99E1-AB66-EECB-9397AC895851}"/>
          </ac:spMkLst>
        </pc:spChg>
        <pc:spChg chg="add mod">
          <ac:chgData name="Trauer" userId="aa8b9dc3-a64d-4cc6-bd4f-f46eb5f096c9" providerId="ADAL" clId="{5B76CEF1-A6E3-49E3-8F70-F81E9495ECB4}" dt="2023-08-14T17:26:39.753" v="6602" actId="34135"/>
          <ac:spMkLst>
            <pc:docMk/>
            <pc:sldMk cId="4105021165" sldId="553"/>
            <ac:spMk id="6" creationId="{80371AFF-A319-56DB-9E47-8D62DD989749}"/>
          </ac:spMkLst>
        </pc:spChg>
        <pc:spChg chg="del">
          <ac:chgData name="Trauer" userId="aa8b9dc3-a64d-4cc6-bd4f-f46eb5f096c9" providerId="ADAL" clId="{5B76CEF1-A6E3-49E3-8F70-F81E9495ECB4}" dt="2023-08-14T15:22:19.760" v="2451" actId="700"/>
          <ac:spMkLst>
            <pc:docMk/>
            <pc:sldMk cId="4105021165" sldId="553"/>
            <ac:spMk id="6" creationId="{C221E41D-3F72-7B16-9DFF-E4F199033267}"/>
          </ac:spMkLst>
        </pc:spChg>
        <pc:spChg chg="del">
          <ac:chgData name="Trauer" userId="aa8b9dc3-a64d-4cc6-bd4f-f46eb5f096c9" providerId="ADAL" clId="{5B76CEF1-A6E3-49E3-8F70-F81E9495ECB4}" dt="2023-08-14T15:22:19.760" v="2451" actId="700"/>
          <ac:spMkLst>
            <pc:docMk/>
            <pc:sldMk cId="4105021165" sldId="553"/>
            <ac:spMk id="7" creationId="{0D22C13F-92FD-B9B2-CFA4-B3ECA70DB221}"/>
          </ac:spMkLst>
        </pc:spChg>
        <pc:spChg chg="add mod">
          <ac:chgData name="Trauer" userId="aa8b9dc3-a64d-4cc6-bd4f-f46eb5f096c9" providerId="ADAL" clId="{5B76CEF1-A6E3-49E3-8F70-F81E9495ECB4}" dt="2023-08-14T17:26:39.753" v="6602" actId="34135"/>
          <ac:spMkLst>
            <pc:docMk/>
            <pc:sldMk cId="4105021165" sldId="553"/>
            <ac:spMk id="7" creationId="{89B0143C-878F-0839-384F-E5B116607B36}"/>
          </ac:spMkLst>
        </pc:spChg>
        <pc:spChg chg="add mod">
          <ac:chgData name="Trauer" userId="aa8b9dc3-a64d-4cc6-bd4f-f46eb5f096c9" providerId="ADAL" clId="{5B76CEF1-A6E3-49E3-8F70-F81E9495ECB4}" dt="2023-08-14T17:26:39.753" v="6602" actId="34135"/>
          <ac:spMkLst>
            <pc:docMk/>
            <pc:sldMk cId="4105021165" sldId="553"/>
            <ac:spMk id="8" creationId="{4251ED6E-384F-0854-004F-B9D99339A692}"/>
          </ac:spMkLst>
        </pc:spChg>
        <pc:spChg chg="del">
          <ac:chgData name="Trauer" userId="aa8b9dc3-a64d-4cc6-bd4f-f46eb5f096c9" providerId="ADAL" clId="{5B76CEF1-A6E3-49E3-8F70-F81E9495ECB4}" dt="2023-08-14T15:22:19.760" v="2451" actId="700"/>
          <ac:spMkLst>
            <pc:docMk/>
            <pc:sldMk cId="4105021165" sldId="553"/>
            <ac:spMk id="8" creationId="{A2126607-06A9-6FC7-4E6F-89420153B9A8}"/>
          </ac:spMkLst>
        </pc:spChg>
        <pc:spChg chg="add mod">
          <ac:chgData name="Trauer" userId="aa8b9dc3-a64d-4cc6-bd4f-f46eb5f096c9" providerId="ADAL" clId="{5B76CEF1-A6E3-49E3-8F70-F81E9495ECB4}" dt="2023-08-14T17:26:39.753" v="6602" actId="34135"/>
          <ac:spMkLst>
            <pc:docMk/>
            <pc:sldMk cId="4105021165" sldId="553"/>
            <ac:spMk id="9" creationId="{DEE490E0-72DB-6B55-EA83-C49A3D08332F}"/>
          </ac:spMkLst>
        </pc:spChg>
        <pc:spChg chg="del mod">
          <ac:chgData name="Trauer" userId="aa8b9dc3-a64d-4cc6-bd4f-f46eb5f096c9" providerId="ADAL" clId="{5B76CEF1-A6E3-49E3-8F70-F81E9495ECB4}" dt="2023-08-14T15:22:19.760" v="2451" actId="700"/>
          <ac:spMkLst>
            <pc:docMk/>
            <pc:sldMk cId="4105021165" sldId="553"/>
            <ac:spMk id="9" creationId="{F328BDA5-67F0-75E6-C800-88815EA83C0B}"/>
          </ac:spMkLst>
        </pc:spChg>
        <pc:spChg chg="del">
          <ac:chgData name="Trauer" userId="aa8b9dc3-a64d-4cc6-bd4f-f46eb5f096c9" providerId="ADAL" clId="{5B76CEF1-A6E3-49E3-8F70-F81E9495ECB4}" dt="2023-08-14T15:22:19.760" v="2451" actId="700"/>
          <ac:spMkLst>
            <pc:docMk/>
            <pc:sldMk cId="4105021165" sldId="553"/>
            <ac:spMk id="10" creationId="{715AA589-9504-5691-B45D-ABC8A9879B07}"/>
          </ac:spMkLst>
        </pc:spChg>
        <pc:spChg chg="add mod">
          <ac:chgData name="Trauer" userId="aa8b9dc3-a64d-4cc6-bd4f-f46eb5f096c9" providerId="ADAL" clId="{5B76CEF1-A6E3-49E3-8F70-F81E9495ECB4}" dt="2023-08-14T17:26:39.753" v="6602" actId="34135"/>
          <ac:spMkLst>
            <pc:docMk/>
            <pc:sldMk cId="4105021165" sldId="553"/>
            <ac:spMk id="10" creationId="{E5663B4B-64BD-5DCA-F880-5B0ECA1FC824}"/>
          </ac:spMkLst>
        </pc:spChg>
        <pc:spChg chg="del">
          <ac:chgData name="Trauer" userId="aa8b9dc3-a64d-4cc6-bd4f-f46eb5f096c9" providerId="ADAL" clId="{5B76CEF1-A6E3-49E3-8F70-F81E9495ECB4}" dt="2023-08-14T15:22:19.760" v="2451" actId="700"/>
          <ac:spMkLst>
            <pc:docMk/>
            <pc:sldMk cId="4105021165" sldId="553"/>
            <ac:spMk id="11" creationId="{A2323A73-7F45-CF4E-8DF0-B990D6136B48}"/>
          </ac:spMkLst>
        </pc:spChg>
        <pc:spChg chg="add mod">
          <ac:chgData name="Trauer" userId="aa8b9dc3-a64d-4cc6-bd4f-f46eb5f096c9" providerId="ADAL" clId="{5B76CEF1-A6E3-49E3-8F70-F81E9495ECB4}" dt="2023-08-14T17:26:39.753" v="6602" actId="34135"/>
          <ac:spMkLst>
            <pc:docMk/>
            <pc:sldMk cId="4105021165" sldId="553"/>
            <ac:spMk id="11" creationId="{EC04C203-DB7D-DFDC-29E2-D14970F2782C}"/>
          </ac:spMkLst>
        </pc:spChg>
        <pc:spChg chg="add mod">
          <ac:chgData name="Trauer" userId="aa8b9dc3-a64d-4cc6-bd4f-f46eb5f096c9" providerId="ADAL" clId="{5B76CEF1-A6E3-49E3-8F70-F81E9495ECB4}" dt="2023-08-14T16:19:30.611" v="3179"/>
          <ac:spMkLst>
            <pc:docMk/>
            <pc:sldMk cId="4105021165" sldId="553"/>
            <ac:spMk id="12" creationId="{CC47440A-1C43-8F93-95CF-24C25EF7BCF0}"/>
          </ac:spMkLst>
        </pc:spChg>
        <pc:spChg chg="add del mod">
          <ac:chgData name="Trauer" userId="aa8b9dc3-a64d-4cc6-bd4f-f46eb5f096c9" providerId="ADAL" clId="{5B76CEF1-A6E3-49E3-8F70-F81E9495ECB4}" dt="2023-08-14T12:20:05.949" v="995" actId="478"/>
          <ac:spMkLst>
            <pc:docMk/>
            <pc:sldMk cId="4105021165" sldId="553"/>
            <ac:spMk id="18" creationId="{BC35D3FC-7009-4196-584B-B3E13A485149}"/>
          </ac:spMkLst>
        </pc:spChg>
        <pc:spChg chg="add del mod">
          <ac:chgData name="Trauer" userId="aa8b9dc3-a64d-4cc6-bd4f-f46eb5f096c9" providerId="ADAL" clId="{5B76CEF1-A6E3-49E3-8F70-F81E9495ECB4}" dt="2023-08-14T12:20:52.436" v="997" actId="478"/>
          <ac:spMkLst>
            <pc:docMk/>
            <pc:sldMk cId="4105021165" sldId="553"/>
            <ac:spMk id="19" creationId="{4429BC0F-A513-6286-7AAA-58801CCB953B}"/>
          </ac:spMkLst>
        </pc:spChg>
        <pc:spChg chg="add mod ord">
          <ac:chgData name="Trauer" userId="aa8b9dc3-a64d-4cc6-bd4f-f46eb5f096c9" providerId="ADAL" clId="{5B76CEF1-A6E3-49E3-8F70-F81E9495ECB4}" dt="2023-08-14T14:23:54.878" v="1167"/>
          <ac:spMkLst>
            <pc:docMk/>
            <pc:sldMk cId="4105021165" sldId="553"/>
            <ac:spMk id="22" creationId="{BF7166CE-83DB-5275-DC60-2EFECB9E4DBE}"/>
          </ac:spMkLst>
        </pc:spChg>
        <pc:spChg chg="add mod ord modVis">
          <ac:chgData name="Trauer" userId="aa8b9dc3-a64d-4cc6-bd4f-f46eb5f096c9" providerId="ADAL" clId="{5B76CEF1-A6E3-49E3-8F70-F81E9495ECB4}" dt="2023-08-14T14:23:54.878" v="1169"/>
          <ac:spMkLst>
            <pc:docMk/>
            <pc:sldMk cId="4105021165" sldId="553"/>
            <ac:spMk id="23" creationId="{44DC55F3-0F18-7890-8DB2-746D2008A62C}"/>
          </ac:spMkLst>
        </pc:spChg>
        <pc:spChg chg="add mod ord">
          <ac:chgData name="Trauer" userId="aa8b9dc3-a64d-4cc6-bd4f-f46eb5f096c9" providerId="ADAL" clId="{5B76CEF1-A6E3-49E3-8F70-F81E9495ECB4}" dt="2023-08-14T14:23:54.880" v="1171"/>
          <ac:spMkLst>
            <pc:docMk/>
            <pc:sldMk cId="4105021165" sldId="553"/>
            <ac:spMk id="24" creationId="{57298502-B1DB-0255-51F7-836CD8D2460A}"/>
          </ac:spMkLst>
        </pc:spChg>
        <pc:spChg chg="add mod">
          <ac:chgData name="Trauer" userId="aa8b9dc3-a64d-4cc6-bd4f-f46eb5f096c9" providerId="ADAL" clId="{5B76CEF1-A6E3-49E3-8F70-F81E9495ECB4}" dt="2023-08-14T14:25:59.680" v="1487" actId="6549"/>
          <ac:spMkLst>
            <pc:docMk/>
            <pc:sldMk cId="4105021165" sldId="553"/>
            <ac:spMk id="26" creationId="{439E56EB-9711-2555-168A-E79B50244A17}"/>
          </ac:spMkLst>
        </pc:spChg>
        <pc:spChg chg="add mod modVis">
          <ac:chgData name="Trauer" userId="aa8b9dc3-a64d-4cc6-bd4f-f46eb5f096c9" providerId="ADAL" clId="{5B76CEF1-A6E3-49E3-8F70-F81E9495ECB4}" dt="2023-08-14T17:11:51.450" v="6398" actId="299"/>
          <ac:spMkLst>
            <pc:docMk/>
            <pc:sldMk cId="4105021165" sldId="553"/>
            <ac:spMk id="27" creationId="{67AD7427-A410-4A92-FB73-51C533B7A5D7}"/>
          </ac:spMkLst>
        </pc:spChg>
        <pc:spChg chg="add mod">
          <ac:chgData name="Trauer" userId="aa8b9dc3-a64d-4cc6-bd4f-f46eb5f096c9" providerId="ADAL" clId="{5B76CEF1-A6E3-49E3-8F70-F81E9495ECB4}" dt="2023-08-14T14:25:59.673" v="1485"/>
          <ac:spMkLst>
            <pc:docMk/>
            <pc:sldMk cId="4105021165" sldId="553"/>
            <ac:spMk id="28" creationId="{C41193AB-8F8A-F45C-C2DB-8231B7A1DC4E}"/>
          </ac:spMkLst>
        </pc:spChg>
        <pc:spChg chg="mod">
          <ac:chgData name="Trauer" userId="aa8b9dc3-a64d-4cc6-bd4f-f46eb5f096c9" providerId="ADAL" clId="{5B76CEF1-A6E3-49E3-8F70-F81E9495ECB4}" dt="2023-08-14T14:26:04.047" v="1535" actId="6549"/>
          <ac:spMkLst>
            <pc:docMk/>
            <pc:sldMk cId="4105021165" sldId="553"/>
            <ac:spMk id="31" creationId="{81DD8ACD-B83B-1B37-4C95-F1C25862440E}"/>
          </ac:spMkLst>
        </pc:spChg>
        <pc:spChg chg="mod modVis">
          <ac:chgData name="Trauer" userId="aa8b9dc3-a64d-4cc6-bd4f-f46eb5f096c9" providerId="ADAL" clId="{5B76CEF1-A6E3-49E3-8F70-F81E9495ECB4}" dt="2023-08-14T17:11:51.454" v="6400" actId="299"/>
          <ac:spMkLst>
            <pc:docMk/>
            <pc:sldMk cId="4105021165" sldId="553"/>
            <ac:spMk id="32" creationId="{C24D2B38-C773-C118-A529-1CD56F7184C9}"/>
          </ac:spMkLst>
        </pc:spChg>
        <pc:spChg chg="mod">
          <ac:chgData name="Trauer" userId="aa8b9dc3-a64d-4cc6-bd4f-f46eb5f096c9" providerId="ADAL" clId="{5B76CEF1-A6E3-49E3-8F70-F81E9495ECB4}" dt="2023-08-14T14:26:04.041" v="1533"/>
          <ac:spMkLst>
            <pc:docMk/>
            <pc:sldMk cId="4105021165" sldId="553"/>
            <ac:spMk id="33" creationId="{D881FBB0-125A-56B2-5F74-90826396861F}"/>
          </ac:spMkLst>
        </pc:spChg>
        <pc:spChg chg="mod">
          <ac:chgData name="Trauer" userId="aa8b9dc3-a64d-4cc6-bd4f-f46eb5f096c9" providerId="ADAL" clId="{5B76CEF1-A6E3-49E3-8F70-F81E9495ECB4}" dt="2023-08-14T14:25:54.528" v="1394" actId="6549"/>
          <ac:spMkLst>
            <pc:docMk/>
            <pc:sldMk cId="4105021165" sldId="553"/>
            <ac:spMk id="35" creationId="{71854C91-4BA5-54F3-57C8-4BAE7E3D0C39}"/>
          </ac:spMkLst>
        </pc:spChg>
        <pc:spChg chg="mod modVis">
          <ac:chgData name="Trauer" userId="aa8b9dc3-a64d-4cc6-bd4f-f46eb5f096c9" providerId="ADAL" clId="{5B76CEF1-A6E3-49E3-8F70-F81E9495ECB4}" dt="2023-08-14T17:11:51.457" v="6402" actId="299"/>
          <ac:spMkLst>
            <pc:docMk/>
            <pc:sldMk cId="4105021165" sldId="553"/>
            <ac:spMk id="36" creationId="{1C8D1726-B3B8-2839-A091-529D94D40BC1}"/>
          </ac:spMkLst>
        </pc:spChg>
        <pc:spChg chg="mod">
          <ac:chgData name="Trauer" userId="aa8b9dc3-a64d-4cc6-bd4f-f46eb5f096c9" providerId="ADAL" clId="{5B76CEF1-A6E3-49E3-8F70-F81E9495ECB4}" dt="2023-08-14T14:25:54.524" v="1392"/>
          <ac:spMkLst>
            <pc:docMk/>
            <pc:sldMk cId="4105021165" sldId="553"/>
            <ac:spMk id="37" creationId="{EFB6BC0B-7B69-C967-CBE0-0D5A4A2F3EFD}"/>
          </ac:spMkLst>
        </pc:spChg>
        <pc:spChg chg="mod">
          <ac:chgData name="Trauer" userId="aa8b9dc3-a64d-4cc6-bd4f-f46eb5f096c9" providerId="ADAL" clId="{5B76CEF1-A6E3-49E3-8F70-F81E9495ECB4}" dt="2023-08-14T14:26:29.722" v="1777"/>
          <ac:spMkLst>
            <pc:docMk/>
            <pc:sldMk cId="4105021165" sldId="553"/>
            <ac:spMk id="39" creationId="{CCBF666C-E8AA-4A75-07CB-C54BABA3917E}"/>
          </ac:spMkLst>
        </pc:spChg>
        <pc:spChg chg="mod modVis">
          <ac:chgData name="Trauer" userId="aa8b9dc3-a64d-4cc6-bd4f-f46eb5f096c9" providerId="ADAL" clId="{5B76CEF1-A6E3-49E3-8F70-F81E9495ECB4}" dt="2023-08-14T17:11:51.460" v="6404" actId="299"/>
          <ac:spMkLst>
            <pc:docMk/>
            <pc:sldMk cId="4105021165" sldId="553"/>
            <ac:spMk id="40" creationId="{6F667F62-AFFD-4546-3920-52085B71E931}"/>
          </ac:spMkLst>
        </pc:spChg>
        <pc:spChg chg="mod">
          <ac:chgData name="Trauer" userId="aa8b9dc3-a64d-4cc6-bd4f-f46eb5f096c9" providerId="ADAL" clId="{5B76CEF1-A6E3-49E3-8F70-F81E9495ECB4}" dt="2023-08-14T14:26:29.722" v="1777"/>
          <ac:spMkLst>
            <pc:docMk/>
            <pc:sldMk cId="4105021165" sldId="553"/>
            <ac:spMk id="41" creationId="{BA13D781-7548-43A8-C411-A2123DA05028}"/>
          </ac:spMkLst>
        </pc:spChg>
        <pc:spChg chg="mod">
          <ac:chgData name="Trauer" userId="aa8b9dc3-a64d-4cc6-bd4f-f46eb5f096c9" providerId="ADAL" clId="{5B76CEF1-A6E3-49E3-8F70-F81E9495ECB4}" dt="2023-08-14T14:26:20.007" v="1769" actId="6549"/>
          <ac:spMkLst>
            <pc:docMk/>
            <pc:sldMk cId="4105021165" sldId="553"/>
            <ac:spMk id="43" creationId="{9A472E62-88B5-A241-17C6-1E7C32B57547}"/>
          </ac:spMkLst>
        </pc:spChg>
        <pc:spChg chg="mod modVis">
          <ac:chgData name="Trauer" userId="aa8b9dc3-a64d-4cc6-bd4f-f46eb5f096c9" providerId="ADAL" clId="{5B76CEF1-A6E3-49E3-8F70-F81E9495ECB4}" dt="2023-08-14T17:11:51.463" v="6406" actId="299"/>
          <ac:spMkLst>
            <pc:docMk/>
            <pc:sldMk cId="4105021165" sldId="553"/>
            <ac:spMk id="44" creationId="{88D9A6B1-A625-7AE9-F967-392CBE5F1A7F}"/>
          </ac:spMkLst>
        </pc:spChg>
        <pc:spChg chg="mod">
          <ac:chgData name="Trauer" userId="aa8b9dc3-a64d-4cc6-bd4f-f46eb5f096c9" providerId="ADAL" clId="{5B76CEF1-A6E3-49E3-8F70-F81E9495ECB4}" dt="2023-08-14T14:26:19.993" v="1767"/>
          <ac:spMkLst>
            <pc:docMk/>
            <pc:sldMk cId="4105021165" sldId="553"/>
            <ac:spMk id="45" creationId="{E877FED3-ADB1-99D4-A841-68450831131C}"/>
          </ac:spMkLst>
        </pc:spChg>
        <pc:spChg chg="mod">
          <ac:chgData name="Trauer" userId="aa8b9dc3-a64d-4cc6-bd4f-f46eb5f096c9" providerId="ADAL" clId="{5B76CEF1-A6E3-49E3-8F70-F81E9495ECB4}" dt="2023-08-14T14:26:11.508" v="1601" actId="6549"/>
          <ac:spMkLst>
            <pc:docMk/>
            <pc:sldMk cId="4105021165" sldId="553"/>
            <ac:spMk id="47" creationId="{CD2E6C0F-E316-CC07-A601-3D41FFE16C5C}"/>
          </ac:spMkLst>
        </pc:spChg>
        <pc:spChg chg="mod modVis">
          <ac:chgData name="Trauer" userId="aa8b9dc3-a64d-4cc6-bd4f-f46eb5f096c9" providerId="ADAL" clId="{5B76CEF1-A6E3-49E3-8F70-F81E9495ECB4}" dt="2023-08-14T17:11:51.466" v="6408" actId="299"/>
          <ac:spMkLst>
            <pc:docMk/>
            <pc:sldMk cId="4105021165" sldId="553"/>
            <ac:spMk id="48" creationId="{5DFD03FF-B043-0070-99E9-CA29386576FA}"/>
          </ac:spMkLst>
        </pc:spChg>
        <pc:spChg chg="mod">
          <ac:chgData name="Trauer" userId="aa8b9dc3-a64d-4cc6-bd4f-f46eb5f096c9" providerId="ADAL" clId="{5B76CEF1-A6E3-49E3-8F70-F81E9495ECB4}" dt="2023-08-14T14:26:11.498" v="1599"/>
          <ac:spMkLst>
            <pc:docMk/>
            <pc:sldMk cId="4105021165" sldId="553"/>
            <ac:spMk id="49" creationId="{6DFE125C-1E34-2827-5DED-2E5FD6B7BFEF}"/>
          </ac:spMkLst>
        </pc:spChg>
        <pc:spChg chg="add mod ord">
          <ac:chgData name="Trauer" userId="aa8b9dc3-a64d-4cc6-bd4f-f46eb5f096c9" providerId="ADAL" clId="{5B76CEF1-A6E3-49E3-8F70-F81E9495ECB4}" dt="2023-08-14T15:23:43.992" v="2509" actId="20577"/>
          <ac:spMkLst>
            <pc:docMk/>
            <pc:sldMk cId="4105021165" sldId="553"/>
            <ac:spMk id="50" creationId="{CE9B0682-3EA7-8BB5-BF0C-222369EB7858}"/>
          </ac:spMkLst>
        </pc:spChg>
        <pc:spChg chg="add mod ord">
          <ac:chgData name="Trauer" userId="aa8b9dc3-a64d-4cc6-bd4f-f46eb5f096c9" providerId="ADAL" clId="{5B76CEF1-A6E3-49E3-8F70-F81E9495ECB4}" dt="2023-08-15T08:04:37.627" v="6630" actId="20577"/>
          <ac:spMkLst>
            <pc:docMk/>
            <pc:sldMk cId="4105021165" sldId="553"/>
            <ac:spMk id="51" creationId="{03DFB20E-4B2F-31E1-BF35-442877BBC715}"/>
          </ac:spMkLst>
        </pc:spChg>
        <pc:spChg chg="add mod ord">
          <ac:chgData name="Trauer" userId="aa8b9dc3-a64d-4cc6-bd4f-f46eb5f096c9" providerId="ADAL" clId="{5B76CEF1-A6E3-49E3-8F70-F81E9495ECB4}" dt="2023-08-14T15:22:19.760" v="2451" actId="700"/>
          <ac:spMkLst>
            <pc:docMk/>
            <pc:sldMk cId="4105021165" sldId="553"/>
            <ac:spMk id="52" creationId="{8EE2D3FA-3B12-1389-210D-1A5BAB0EEC1C}"/>
          </ac:spMkLst>
        </pc:spChg>
        <pc:spChg chg="add mod ord">
          <ac:chgData name="Trauer" userId="aa8b9dc3-a64d-4cc6-bd4f-f46eb5f096c9" providerId="ADAL" clId="{5B76CEF1-A6E3-49E3-8F70-F81E9495ECB4}" dt="2023-08-14T15:22:19.760" v="2451" actId="700"/>
          <ac:spMkLst>
            <pc:docMk/>
            <pc:sldMk cId="4105021165" sldId="553"/>
            <ac:spMk id="53" creationId="{1BBFC967-088A-E3DB-D379-EB9269185B8C}"/>
          </ac:spMkLst>
        </pc:spChg>
        <pc:spChg chg="add mod ord">
          <ac:chgData name="Trauer" userId="aa8b9dc3-a64d-4cc6-bd4f-f46eb5f096c9" providerId="ADAL" clId="{5B76CEF1-A6E3-49E3-8F70-F81E9495ECB4}" dt="2023-08-14T15:22:19.760" v="2451" actId="700"/>
          <ac:spMkLst>
            <pc:docMk/>
            <pc:sldMk cId="4105021165" sldId="553"/>
            <ac:spMk id="54" creationId="{681D9A08-3BFC-57D1-C0F1-9B8A18C4234A}"/>
          </ac:spMkLst>
        </pc:spChg>
        <pc:spChg chg="add mod ord">
          <ac:chgData name="Trauer" userId="aa8b9dc3-a64d-4cc6-bd4f-f46eb5f096c9" providerId="ADAL" clId="{5B76CEF1-A6E3-49E3-8F70-F81E9495ECB4}" dt="2023-08-14T15:22:19.760" v="2451" actId="700"/>
          <ac:spMkLst>
            <pc:docMk/>
            <pc:sldMk cId="4105021165" sldId="553"/>
            <ac:spMk id="55" creationId="{3DAB90F8-AC6A-9D6D-12A8-A1240BD34C0F}"/>
          </ac:spMkLst>
        </pc:spChg>
        <pc:spChg chg="add mod ord">
          <ac:chgData name="Trauer" userId="aa8b9dc3-a64d-4cc6-bd4f-f46eb5f096c9" providerId="ADAL" clId="{5B76CEF1-A6E3-49E3-8F70-F81E9495ECB4}" dt="2023-08-14T15:22:19.760" v="2451" actId="700"/>
          <ac:spMkLst>
            <pc:docMk/>
            <pc:sldMk cId="4105021165" sldId="553"/>
            <ac:spMk id="56" creationId="{2DA2626B-3E36-727E-F7AD-D633A95D9AD0}"/>
          </ac:spMkLst>
        </pc:spChg>
        <pc:spChg chg="add mod ord">
          <ac:chgData name="Trauer" userId="aa8b9dc3-a64d-4cc6-bd4f-f46eb5f096c9" providerId="ADAL" clId="{5B76CEF1-A6E3-49E3-8F70-F81E9495ECB4}" dt="2023-08-14T15:22:19.760" v="2451" actId="700"/>
          <ac:spMkLst>
            <pc:docMk/>
            <pc:sldMk cId="4105021165" sldId="553"/>
            <ac:spMk id="57" creationId="{D98CF0E5-80A0-8916-9C31-1AF9F2CD8867}"/>
          </ac:spMkLst>
        </pc:spChg>
        <pc:spChg chg="add mod ord">
          <ac:chgData name="Trauer" userId="aa8b9dc3-a64d-4cc6-bd4f-f46eb5f096c9" providerId="ADAL" clId="{5B76CEF1-A6E3-49E3-8F70-F81E9495ECB4}" dt="2023-08-14T15:22:19.760" v="2451" actId="700"/>
          <ac:spMkLst>
            <pc:docMk/>
            <pc:sldMk cId="4105021165" sldId="553"/>
            <ac:spMk id="58" creationId="{F1F62760-AB84-8F02-7D3D-81D265E8F148}"/>
          </ac:spMkLst>
        </pc:spChg>
        <pc:spChg chg="add mod ord">
          <ac:chgData name="Trauer" userId="aa8b9dc3-a64d-4cc6-bd4f-f46eb5f096c9" providerId="ADAL" clId="{5B76CEF1-A6E3-49E3-8F70-F81E9495ECB4}" dt="2023-08-14T15:22:19.760" v="2451" actId="700"/>
          <ac:spMkLst>
            <pc:docMk/>
            <pc:sldMk cId="4105021165" sldId="553"/>
            <ac:spMk id="59" creationId="{F7F16207-FFF5-83B0-3D3E-B3A274EE3C20}"/>
          </ac:spMkLst>
        </pc:spChg>
        <pc:spChg chg="add mod ord">
          <ac:chgData name="Trauer" userId="aa8b9dc3-a64d-4cc6-bd4f-f46eb5f096c9" providerId="ADAL" clId="{5B76CEF1-A6E3-49E3-8F70-F81E9495ECB4}" dt="2023-08-14T15:22:19.760" v="2451" actId="700"/>
          <ac:spMkLst>
            <pc:docMk/>
            <pc:sldMk cId="4105021165" sldId="553"/>
            <ac:spMk id="60" creationId="{BF0F42EE-406B-91FD-C4AF-631CE90548B5}"/>
          </ac:spMkLst>
        </pc:spChg>
        <pc:grpChg chg="add del mod replST">
          <ac:chgData name="Trauer" userId="aa8b9dc3-a64d-4cc6-bd4f-f46eb5f096c9" providerId="ADAL" clId="{5B76CEF1-A6E3-49E3-8F70-F81E9495ECB4}" dt="2023-08-14T14:23:55.610" v="1172" actId="478"/>
          <ac:grpSpMkLst>
            <pc:docMk/>
            <pc:sldMk cId="4105021165" sldId="553"/>
            <ac:grpSpMk id="25" creationId="{7C0B233B-BD44-DC01-5A66-D04318365514}"/>
          </ac:grpSpMkLst>
        </pc:grpChg>
        <pc:grpChg chg="add mod replST">
          <ac:chgData name="Trauer" userId="aa8b9dc3-a64d-4cc6-bd4f-f46eb5f096c9" providerId="ADAL" clId="{5B76CEF1-A6E3-49E3-8F70-F81E9495ECB4}" dt="2023-08-14T14:25:59.660" v="1481"/>
          <ac:grpSpMkLst>
            <pc:docMk/>
            <pc:sldMk cId="4105021165" sldId="553"/>
            <ac:grpSpMk id="29" creationId="{A8111091-D904-BC3D-E8F2-9FB716FF1855}"/>
          </ac:grpSpMkLst>
        </pc:grpChg>
        <pc:grpChg chg="add mod">
          <ac:chgData name="Trauer" userId="aa8b9dc3-a64d-4cc6-bd4f-f46eb5f096c9" providerId="ADAL" clId="{5B76CEF1-A6E3-49E3-8F70-F81E9495ECB4}" dt="2023-08-14T14:26:04.032" v="1529"/>
          <ac:grpSpMkLst>
            <pc:docMk/>
            <pc:sldMk cId="4105021165" sldId="553"/>
            <ac:grpSpMk id="30" creationId="{DD8393DC-9DD2-5B48-457A-F6FFB80375FA}"/>
          </ac:grpSpMkLst>
        </pc:grpChg>
        <pc:grpChg chg="add mod">
          <ac:chgData name="Trauer" userId="aa8b9dc3-a64d-4cc6-bd4f-f46eb5f096c9" providerId="ADAL" clId="{5B76CEF1-A6E3-49E3-8F70-F81E9495ECB4}" dt="2023-08-14T14:25:54.512" v="1388"/>
          <ac:grpSpMkLst>
            <pc:docMk/>
            <pc:sldMk cId="4105021165" sldId="553"/>
            <ac:grpSpMk id="34" creationId="{01126EA2-B90B-6910-0404-340B4A5A93C9}"/>
          </ac:grpSpMkLst>
        </pc:grpChg>
        <pc:grpChg chg="add mod">
          <ac:chgData name="Trauer" userId="aa8b9dc3-a64d-4cc6-bd4f-f46eb5f096c9" providerId="ADAL" clId="{5B76CEF1-A6E3-49E3-8F70-F81E9495ECB4}" dt="2023-08-14T14:26:29.722" v="1777"/>
          <ac:grpSpMkLst>
            <pc:docMk/>
            <pc:sldMk cId="4105021165" sldId="553"/>
            <ac:grpSpMk id="38" creationId="{7EB54FC5-AD1F-2928-E946-98A869D2F328}"/>
          </ac:grpSpMkLst>
        </pc:grpChg>
        <pc:grpChg chg="add mod">
          <ac:chgData name="Trauer" userId="aa8b9dc3-a64d-4cc6-bd4f-f46eb5f096c9" providerId="ADAL" clId="{5B76CEF1-A6E3-49E3-8F70-F81E9495ECB4}" dt="2023-08-14T14:26:19.961" v="1763"/>
          <ac:grpSpMkLst>
            <pc:docMk/>
            <pc:sldMk cId="4105021165" sldId="553"/>
            <ac:grpSpMk id="42" creationId="{8C232A33-ECD6-E587-7F04-71ED94031CBF}"/>
          </ac:grpSpMkLst>
        </pc:grpChg>
        <pc:grpChg chg="add mod">
          <ac:chgData name="Trauer" userId="aa8b9dc3-a64d-4cc6-bd4f-f46eb5f096c9" providerId="ADAL" clId="{5B76CEF1-A6E3-49E3-8F70-F81E9495ECB4}" dt="2023-08-14T14:26:11.474" v="1595"/>
          <ac:grpSpMkLst>
            <pc:docMk/>
            <pc:sldMk cId="4105021165" sldId="553"/>
            <ac:grpSpMk id="46" creationId="{2E93ECAB-4D60-B6F2-44C8-D74737B30BBF}"/>
          </ac:grpSpMkLst>
        </pc:grpChg>
        <pc:graphicFrameChg chg="add del mod">
          <ac:chgData name="Trauer" userId="aa8b9dc3-a64d-4cc6-bd4f-f46eb5f096c9" providerId="ADAL" clId="{5B76CEF1-A6E3-49E3-8F70-F81E9495ECB4}" dt="2023-08-14T11:47:32.950" v="974" actId="478"/>
          <ac:graphicFrameMkLst>
            <pc:docMk/>
            <pc:sldMk cId="4105021165" sldId="553"/>
            <ac:graphicFrameMk id="12" creationId="{C72340AF-72F2-CA63-43F2-646C29BAB9F3}"/>
          </ac:graphicFrameMkLst>
        </pc:graphicFrameChg>
        <pc:graphicFrameChg chg="add del mod">
          <ac:chgData name="Trauer" userId="aa8b9dc3-a64d-4cc6-bd4f-f46eb5f096c9" providerId="ADAL" clId="{5B76CEF1-A6E3-49E3-8F70-F81E9495ECB4}" dt="2023-08-14T11:47:57.692" v="978" actId="478"/>
          <ac:graphicFrameMkLst>
            <pc:docMk/>
            <pc:sldMk cId="4105021165" sldId="553"/>
            <ac:graphicFrameMk id="13" creationId="{2437B160-F939-13C0-9D1F-4B79A5FECC93}"/>
          </ac:graphicFrameMkLst>
        </pc:graphicFrameChg>
        <pc:graphicFrameChg chg="add del mod">
          <ac:chgData name="Trauer" userId="aa8b9dc3-a64d-4cc6-bd4f-f46eb5f096c9" providerId="ADAL" clId="{5B76CEF1-A6E3-49E3-8F70-F81E9495ECB4}" dt="2023-08-14T11:48:23.325" v="983" actId="478"/>
          <ac:graphicFrameMkLst>
            <pc:docMk/>
            <pc:sldMk cId="4105021165" sldId="553"/>
            <ac:graphicFrameMk id="14" creationId="{A31A5B00-75C6-1548-7CE6-5A4C4AE283D4}"/>
          </ac:graphicFrameMkLst>
        </pc:graphicFrameChg>
        <pc:graphicFrameChg chg="add del mod">
          <ac:chgData name="Trauer" userId="aa8b9dc3-a64d-4cc6-bd4f-f46eb5f096c9" providerId="ADAL" clId="{5B76CEF1-A6E3-49E3-8F70-F81E9495ECB4}" dt="2023-08-14T11:48:54.846" v="986" actId="478"/>
          <ac:graphicFrameMkLst>
            <pc:docMk/>
            <pc:sldMk cId="4105021165" sldId="553"/>
            <ac:graphicFrameMk id="15" creationId="{20B0EFD7-F04B-7E3F-463A-B07284E206AD}"/>
          </ac:graphicFrameMkLst>
        </pc:graphicFrameChg>
        <pc:graphicFrameChg chg="add del mod">
          <ac:chgData name="Trauer" userId="aa8b9dc3-a64d-4cc6-bd4f-f46eb5f096c9" providerId="ADAL" clId="{5B76CEF1-A6E3-49E3-8F70-F81E9495ECB4}" dt="2023-08-14T11:51:01.012" v="990" actId="478"/>
          <ac:graphicFrameMkLst>
            <pc:docMk/>
            <pc:sldMk cId="4105021165" sldId="553"/>
            <ac:graphicFrameMk id="16" creationId="{08C23D53-83FC-B413-5084-7DE440FD0939}"/>
          </ac:graphicFrameMkLst>
        </pc:graphicFrameChg>
        <pc:graphicFrameChg chg="add del mod">
          <ac:chgData name="Trauer" userId="aa8b9dc3-a64d-4cc6-bd4f-f46eb5f096c9" providerId="ADAL" clId="{5B76CEF1-A6E3-49E3-8F70-F81E9495ECB4}" dt="2023-08-14T11:51:34.798" v="993" actId="478"/>
          <ac:graphicFrameMkLst>
            <pc:docMk/>
            <pc:sldMk cId="4105021165" sldId="553"/>
            <ac:graphicFrameMk id="17" creationId="{940250DD-3464-CCC1-6A7D-320EFB172CC9}"/>
          </ac:graphicFrameMkLst>
        </pc:graphicFrameChg>
        <pc:graphicFrameChg chg="add del mod">
          <ac:chgData name="Trauer" userId="aa8b9dc3-a64d-4cc6-bd4f-f46eb5f096c9" providerId="ADAL" clId="{5B76CEF1-A6E3-49E3-8F70-F81E9495ECB4}" dt="2023-08-14T14:19:53.930" v="1002" actId="478"/>
          <ac:graphicFrameMkLst>
            <pc:docMk/>
            <pc:sldMk cId="4105021165" sldId="553"/>
            <ac:graphicFrameMk id="21" creationId="{D0A2207A-0B3D-1F0A-BFA8-7FAAFEBC6187}"/>
          </ac:graphicFrameMkLst>
        </pc:graphicFrameChg>
        <pc:picChg chg="add del mod">
          <ac:chgData name="Trauer" userId="aa8b9dc3-a64d-4cc6-bd4f-f46eb5f096c9" providerId="ADAL" clId="{5B76CEF1-A6E3-49E3-8F70-F81E9495ECB4}" dt="2023-08-14T12:20:59.916" v="999" actId="478"/>
          <ac:picMkLst>
            <pc:docMk/>
            <pc:sldMk cId="4105021165" sldId="553"/>
            <ac:picMk id="20" creationId="{48EDCCEB-411B-5F50-23AA-FD103D0E6E3B}"/>
          </ac:picMkLst>
        </pc:picChg>
      </pc:sldChg>
      <pc:sldChg chg="addSp modSp new add del mod">
        <pc:chgData name="Trauer" userId="aa8b9dc3-a64d-4cc6-bd4f-f46eb5f096c9" providerId="ADAL" clId="{5B76CEF1-A6E3-49E3-8F70-F81E9495ECB4}" dt="2023-08-14T15:12:45.248" v="2364" actId="47"/>
        <pc:sldMkLst>
          <pc:docMk/>
          <pc:sldMk cId="1993470141" sldId="554"/>
        </pc:sldMkLst>
        <pc:spChg chg="add mod ord">
          <ac:chgData name="Trauer" userId="aa8b9dc3-a64d-4cc6-bd4f-f46eb5f096c9" providerId="ADAL" clId="{5B76CEF1-A6E3-49E3-8F70-F81E9495ECB4}" dt="2023-08-14T14:36:30.935" v="1985" actId="1076"/>
          <ac:spMkLst>
            <pc:docMk/>
            <pc:sldMk cId="1993470141" sldId="554"/>
            <ac:spMk id="3" creationId="{0244FA1A-EAE8-1C9F-4188-C8EF183D0314}"/>
          </ac:spMkLst>
        </pc:spChg>
        <pc:spChg chg="add mod ord">
          <ac:chgData name="Trauer" userId="aa8b9dc3-a64d-4cc6-bd4f-f46eb5f096c9" providerId="ADAL" clId="{5B76CEF1-A6E3-49E3-8F70-F81E9495ECB4}" dt="2023-08-14T14:36:30.935" v="1985" actId="1076"/>
          <ac:spMkLst>
            <pc:docMk/>
            <pc:sldMk cId="1993470141" sldId="554"/>
            <ac:spMk id="4" creationId="{1D61B5B9-E789-4C58-A77A-37217D1BCCA5}"/>
          </ac:spMkLst>
        </pc:spChg>
        <pc:spChg chg="add mod">
          <ac:chgData name="Trauer" userId="aa8b9dc3-a64d-4cc6-bd4f-f46eb5f096c9" providerId="ADAL" clId="{5B76CEF1-A6E3-49E3-8F70-F81E9495ECB4}" dt="2023-08-14T14:36:30.935" v="1985" actId="1076"/>
          <ac:spMkLst>
            <pc:docMk/>
            <pc:sldMk cId="1993470141" sldId="554"/>
            <ac:spMk id="5" creationId="{30B94CE5-4F9B-19B5-8EE8-7B35F67E0A25}"/>
          </ac:spMkLst>
        </pc:spChg>
        <pc:spChg chg="add mod ord">
          <ac:chgData name="Trauer" userId="aa8b9dc3-a64d-4cc6-bd4f-f46eb5f096c9" providerId="ADAL" clId="{5B76CEF1-A6E3-49E3-8F70-F81E9495ECB4}" dt="2023-08-14T14:36:30.935" v="1985" actId="1076"/>
          <ac:spMkLst>
            <pc:docMk/>
            <pc:sldMk cId="1993470141" sldId="554"/>
            <ac:spMk id="6" creationId="{5CF408FC-EC09-9428-9D63-87DFEB6D9F3B}"/>
          </ac:spMkLst>
        </pc:spChg>
        <pc:spChg chg="add mod">
          <ac:chgData name="Trauer" userId="aa8b9dc3-a64d-4cc6-bd4f-f46eb5f096c9" providerId="ADAL" clId="{5B76CEF1-A6E3-49E3-8F70-F81E9495ECB4}" dt="2023-08-14T14:36:30.935" v="1985" actId="1076"/>
          <ac:spMkLst>
            <pc:docMk/>
            <pc:sldMk cId="1993470141" sldId="554"/>
            <ac:spMk id="7" creationId="{EA51E483-CCA2-9D92-3139-51BE1D6C22E9}"/>
          </ac:spMkLst>
        </pc:spChg>
        <pc:spChg chg="add mod ord">
          <ac:chgData name="Trauer" userId="aa8b9dc3-a64d-4cc6-bd4f-f46eb5f096c9" providerId="ADAL" clId="{5B76CEF1-A6E3-49E3-8F70-F81E9495ECB4}" dt="2023-08-14T14:36:30.935" v="1985" actId="1076"/>
          <ac:spMkLst>
            <pc:docMk/>
            <pc:sldMk cId="1993470141" sldId="554"/>
            <ac:spMk id="8" creationId="{3C3B631D-EB59-AD7B-83BF-56FCFB2FC7D8}"/>
          </ac:spMkLst>
        </pc:spChg>
        <pc:spChg chg="add mod ord">
          <ac:chgData name="Trauer" userId="aa8b9dc3-a64d-4cc6-bd4f-f46eb5f096c9" providerId="ADAL" clId="{5B76CEF1-A6E3-49E3-8F70-F81E9495ECB4}" dt="2023-08-14T14:36:30.935" v="1985" actId="1076"/>
          <ac:spMkLst>
            <pc:docMk/>
            <pc:sldMk cId="1993470141" sldId="554"/>
            <ac:spMk id="9" creationId="{0AD2C1E3-589E-5339-9FB6-09A0B5531BE4}"/>
          </ac:spMkLst>
        </pc:spChg>
        <pc:spChg chg="add mod ord">
          <ac:chgData name="Trauer" userId="aa8b9dc3-a64d-4cc6-bd4f-f46eb5f096c9" providerId="ADAL" clId="{5B76CEF1-A6E3-49E3-8F70-F81E9495ECB4}" dt="2023-08-14T14:36:30.935" v="1985" actId="1076"/>
          <ac:spMkLst>
            <pc:docMk/>
            <pc:sldMk cId="1993470141" sldId="554"/>
            <ac:spMk id="10" creationId="{918D46FB-2220-31E6-CE65-949D48F3C69D}"/>
          </ac:spMkLst>
        </pc:spChg>
        <pc:spChg chg="add mod ord">
          <ac:chgData name="Trauer" userId="aa8b9dc3-a64d-4cc6-bd4f-f46eb5f096c9" providerId="ADAL" clId="{5B76CEF1-A6E3-49E3-8F70-F81E9495ECB4}" dt="2023-08-14T14:36:30.935" v="1985" actId="1076"/>
          <ac:spMkLst>
            <pc:docMk/>
            <pc:sldMk cId="1993470141" sldId="554"/>
            <ac:spMk id="11" creationId="{00E05ED9-8190-A126-899A-95A1053EBB6B}"/>
          </ac:spMkLst>
        </pc:spChg>
      </pc:sldChg>
      <pc:sldChg chg="addSp delSp modSp new del mod chgLayout">
        <pc:chgData name="Trauer" userId="aa8b9dc3-a64d-4cc6-bd4f-f46eb5f096c9" providerId="ADAL" clId="{5B76CEF1-A6E3-49E3-8F70-F81E9495ECB4}" dt="2023-08-14T16:09:24.290" v="2766" actId="47"/>
        <pc:sldMkLst>
          <pc:docMk/>
          <pc:sldMk cId="2909154262" sldId="554"/>
        </pc:sldMkLst>
        <pc:spChg chg="del">
          <ac:chgData name="Trauer" userId="aa8b9dc3-a64d-4cc6-bd4f-f46eb5f096c9" providerId="ADAL" clId="{5B76CEF1-A6E3-49E3-8F70-F81E9495ECB4}" dt="2023-08-14T15:25:02.332" v="2594" actId="700"/>
          <ac:spMkLst>
            <pc:docMk/>
            <pc:sldMk cId="2909154262" sldId="554"/>
            <ac:spMk id="2" creationId="{5938DE8E-29A6-93F8-808C-92FBA704DFDE}"/>
          </ac:spMkLst>
        </pc:spChg>
        <pc:spChg chg="add del mod">
          <ac:chgData name="Trauer" userId="aa8b9dc3-a64d-4cc6-bd4f-f46eb5f096c9" providerId="ADAL" clId="{5B76CEF1-A6E3-49E3-8F70-F81E9495ECB4}" dt="2023-08-14T15:23:10.780" v="2499"/>
          <ac:spMkLst>
            <pc:docMk/>
            <pc:sldMk cId="2909154262" sldId="554"/>
            <ac:spMk id="3" creationId="{F9256059-5BF0-0E7B-6BBE-35D5A142F8CB}"/>
          </ac:spMkLst>
        </pc:spChg>
        <pc:spChg chg="add mod ord">
          <ac:chgData name="Trauer" userId="aa8b9dc3-a64d-4cc6-bd4f-f46eb5f096c9" providerId="ADAL" clId="{5B76CEF1-A6E3-49E3-8F70-F81E9495ECB4}" dt="2023-08-14T15:25:02.332" v="2594" actId="700"/>
          <ac:spMkLst>
            <pc:docMk/>
            <pc:sldMk cId="2909154262" sldId="554"/>
            <ac:spMk id="4" creationId="{8A50BD7E-0B63-C572-0F44-DA68822C09FD}"/>
          </ac:spMkLst>
        </pc:spChg>
        <pc:spChg chg="add mod ord">
          <ac:chgData name="Trauer" userId="aa8b9dc3-a64d-4cc6-bd4f-f46eb5f096c9" providerId="ADAL" clId="{5B76CEF1-A6E3-49E3-8F70-F81E9495ECB4}" dt="2023-08-14T15:25:02.332" v="2594" actId="700"/>
          <ac:spMkLst>
            <pc:docMk/>
            <pc:sldMk cId="2909154262" sldId="554"/>
            <ac:spMk id="5" creationId="{FB39737A-EBAE-3643-3FDB-15CB113ABEA6}"/>
          </ac:spMkLst>
        </pc:spChg>
      </pc:sldChg>
      <pc:sldChg chg="addSp modSp new mod modTransition">
        <pc:chgData name="Trauer" userId="aa8b9dc3-a64d-4cc6-bd4f-f46eb5f096c9" providerId="ADAL" clId="{5B76CEF1-A6E3-49E3-8F70-F81E9495ECB4}" dt="2023-08-14T17:27:15.483" v="6605" actId="34135"/>
        <pc:sldMkLst>
          <pc:docMk/>
          <pc:sldMk cId="3475029415" sldId="554"/>
        </pc:sldMkLst>
        <pc:spChg chg="mod">
          <ac:chgData name="Trauer" userId="aa8b9dc3-a64d-4cc6-bd4f-f46eb5f096c9" providerId="ADAL" clId="{5B76CEF1-A6E3-49E3-8F70-F81E9495ECB4}" dt="2023-08-14T16:20:03.919" v="3193" actId="20577"/>
          <ac:spMkLst>
            <pc:docMk/>
            <pc:sldMk cId="3475029415" sldId="554"/>
            <ac:spMk id="2" creationId="{AC3AE644-F346-F0EC-3355-B03C3D1F7BB9}"/>
          </ac:spMkLst>
        </pc:spChg>
        <pc:spChg chg="mod">
          <ac:chgData name="Trauer" userId="aa8b9dc3-a64d-4cc6-bd4f-f46eb5f096c9" providerId="ADAL" clId="{5B76CEF1-A6E3-49E3-8F70-F81E9495ECB4}" dt="2023-08-14T17:27:06.682" v="6604" actId="1076"/>
          <ac:spMkLst>
            <pc:docMk/>
            <pc:sldMk cId="3475029415" sldId="554"/>
            <ac:spMk id="3" creationId="{E533737D-13B7-1C3C-944F-33DD946FD0BC}"/>
          </ac:spMkLst>
        </pc:spChg>
        <pc:spChg chg="add mod">
          <ac:chgData name="Trauer" userId="aa8b9dc3-a64d-4cc6-bd4f-f46eb5f096c9" providerId="ADAL" clId="{5B76CEF1-A6E3-49E3-8F70-F81E9495ECB4}" dt="2023-08-14T17:27:15.483" v="6605" actId="34135"/>
          <ac:spMkLst>
            <pc:docMk/>
            <pc:sldMk cId="3475029415" sldId="554"/>
            <ac:spMk id="4" creationId="{2CACD960-31B7-9523-163B-813399D07540}"/>
          </ac:spMkLst>
        </pc:spChg>
        <pc:spChg chg="add mod">
          <ac:chgData name="Trauer" userId="aa8b9dc3-a64d-4cc6-bd4f-f46eb5f096c9" providerId="ADAL" clId="{5B76CEF1-A6E3-49E3-8F70-F81E9495ECB4}" dt="2023-08-14T17:27:15.483" v="6605" actId="34135"/>
          <ac:spMkLst>
            <pc:docMk/>
            <pc:sldMk cId="3475029415" sldId="554"/>
            <ac:spMk id="5" creationId="{994D88B5-6A48-3373-F5AE-ADBABC892C3F}"/>
          </ac:spMkLst>
        </pc:spChg>
        <pc:spChg chg="add mod">
          <ac:chgData name="Trauer" userId="aa8b9dc3-a64d-4cc6-bd4f-f46eb5f096c9" providerId="ADAL" clId="{5B76CEF1-A6E3-49E3-8F70-F81E9495ECB4}" dt="2023-08-14T17:27:15.483" v="6605" actId="34135"/>
          <ac:spMkLst>
            <pc:docMk/>
            <pc:sldMk cId="3475029415" sldId="554"/>
            <ac:spMk id="6" creationId="{73025EE7-ACB2-41EF-7533-13B0B32D1378}"/>
          </ac:spMkLst>
        </pc:spChg>
        <pc:spChg chg="add mod">
          <ac:chgData name="Trauer" userId="aa8b9dc3-a64d-4cc6-bd4f-f46eb5f096c9" providerId="ADAL" clId="{5B76CEF1-A6E3-49E3-8F70-F81E9495ECB4}" dt="2023-08-14T17:27:15.483" v="6605" actId="34135"/>
          <ac:spMkLst>
            <pc:docMk/>
            <pc:sldMk cId="3475029415" sldId="554"/>
            <ac:spMk id="7" creationId="{7BA36A65-2BB2-BEC3-A533-13D683C281A1}"/>
          </ac:spMkLst>
        </pc:spChg>
        <pc:spChg chg="add mod">
          <ac:chgData name="Trauer" userId="aa8b9dc3-a64d-4cc6-bd4f-f46eb5f096c9" providerId="ADAL" clId="{5B76CEF1-A6E3-49E3-8F70-F81E9495ECB4}" dt="2023-08-14T17:27:15.483" v="6605" actId="34135"/>
          <ac:spMkLst>
            <pc:docMk/>
            <pc:sldMk cId="3475029415" sldId="554"/>
            <ac:spMk id="8" creationId="{1B758D5A-9BCA-E7B4-3D03-35282DFE7D12}"/>
          </ac:spMkLst>
        </pc:spChg>
        <pc:spChg chg="add mod">
          <ac:chgData name="Trauer" userId="aa8b9dc3-a64d-4cc6-bd4f-f46eb5f096c9" providerId="ADAL" clId="{5B76CEF1-A6E3-49E3-8F70-F81E9495ECB4}" dt="2023-08-14T17:27:15.483" v="6605" actId="34135"/>
          <ac:spMkLst>
            <pc:docMk/>
            <pc:sldMk cId="3475029415" sldId="554"/>
            <ac:spMk id="9" creationId="{0A1C746A-C2EA-E492-2CCC-B73F1612070C}"/>
          </ac:spMkLst>
        </pc:spChg>
        <pc:spChg chg="add mod">
          <ac:chgData name="Trauer" userId="aa8b9dc3-a64d-4cc6-bd4f-f46eb5f096c9" providerId="ADAL" clId="{5B76CEF1-A6E3-49E3-8F70-F81E9495ECB4}" dt="2023-08-14T17:27:15.483" v="6605" actId="34135"/>
          <ac:spMkLst>
            <pc:docMk/>
            <pc:sldMk cId="3475029415" sldId="554"/>
            <ac:spMk id="10" creationId="{B288C3A9-091F-3513-6C1E-D2CE39654643}"/>
          </ac:spMkLst>
        </pc:spChg>
        <pc:spChg chg="add mod">
          <ac:chgData name="Trauer" userId="aa8b9dc3-a64d-4cc6-bd4f-f46eb5f096c9" providerId="ADAL" clId="{5B76CEF1-A6E3-49E3-8F70-F81E9495ECB4}" dt="2023-08-14T17:27:15.483" v="6605" actId="34135"/>
          <ac:spMkLst>
            <pc:docMk/>
            <pc:sldMk cId="3475029415" sldId="554"/>
            <ac:spMk id="11" creationId="{84323E68-E3A5-EC0D-2A99-62F7AF881526}"/>
          </ac:spMkLst>
        </pc:spChg>
        <pc:spChg chg="add mod ord">
          <ac:chgData name="Trauer" userId="aa8b9dc3-a64d-4cc6-bd4f-f46eb5f096c9" providerId="ADAL" clId="{5B76CEF1-A6E3-49E3-8F70-F81E9495ECB4}" dt="2023-08-14T17:27:15.483" v="6605" actId="34135"/>
          <ac:spMkLst>
            <pc:docMk/>
            <pc:sldMk cId="3475029415" sldId="554"/>
            <ac:spMk id="12" creationId="{28EAFD87-CBB2-249A-5B46-3FDEE98399DA}"/>
          </ac:spMkLst>
        </pc:spChg>
        <pc:spChg chg="add mod">
          <ac:chgData name="Trauer" userId="aa8b9dc3-a64d-4cc6-bd4f-f46eb5f096c9" providerId="ADAL" clId="{5B76CEF1-A6E3-49E3-8F70-F81E9495ECB4}" dt="2023-08-14T17:27:15.483" v="6605" actId="34135"/>
          <ac:spMkLst>
            <pc:docMk/>
            <pc:sldMk cId="3475029415" sldId="554"/>
            <ac:spMk id="13" creationId="{18DA3820-B68C-0654-2E88-B072BE00B496}"/>
          </ac:spMkLst>
        </pc:spChg>
        <pc:spChg chg="add mod">
          <ac:chgData name="Trauer" userId="aa8b9dc3-a64d-4cc6-bd4f-f46eb5f096c9" providerId="ADAL" clId="{5B76CEF1-A6E3-49E3-8F70-F81E9495ECB4}" dt="2023-08-14T16:19:43.715" v="3180"/>
          <ac:spMkLst>
            <pc:docMk/>
            <pc:sldMk cId="3475029415" sldId="554"/>
            <ac:spMk id="14" creationId="{58029D81-788E-CD84-FC98-0376707B4EB4}"/>
          </ac:spMkLst>
        </pc:spChg>
      </pc:sldChg>
      <pc:sldChg chg="addSp modSp new mod modTransition">
        <pc:chgData name="Trauer" userId="aa8b9dc3-a64d-4cc6-bd4f-f46eb5f096c9" providerId="ADAL" clId="{5B76CEF1-A6E3-49E3-8F70-F81E9495ECB4}" dt="2023-08-14T17:27:26.622" v="6606" actId="34135"/>
        <pc:sldMkLst>
          <pc:docMk/>
          <pc:sldMk cId="996242805" sldId="555"/>
        </pc:sldMkLst>
        <pc:spChg chg="mod">
          <ac:chgData name="Trauer" userId="aa8b9dc3-a64d-4cc6-bd4f-f46eb5f096c9" providerId="ADAL" clId="{5B76CEF1-A6E3-49E3-8F70-F81E9495ECB4}" dt="2023-08-14T16:11:30.145" v="2841" actId="20577"/>
          <ac:spMkLst>
            <pc:docMk/>
            <pc:sldMk cId="996242805" sldId="555"/>
            <ac:spMk id="3" creationId="{D490E322-0F64-DBFE-1978-06EC97013DA6}"/>
          </ac:spMkLst>
        </pc:spChg>
        <pc:spChg chg="add mod">
          <ac:chgData name="Trauer" userId="aa8b9dc3-a64d-4cc6-bd4f-f46eb5f096c9" providerId="ADAL" clId="{5B76CEF1-A6E3-49E3-8F70-F81E9495ECB4}" dt="2023-08-14T17:27:26.622" v="6606" actId="34135"/>
          <ac:spMkLst>
            <pc:docMk/>
            <pc:sldMk cId="996242805" sldId="555"/>
            <ac:spMk id="4" creationId="{E345FE00-0E60-3F42-C7A7-3EA3DA0BF4F2}"/>
          </ac:spMkLst>
        </pc:spChg>
        <pc:spChg chg="add mod">
          <ac:chgData name="Trauer" userId="aa8b9dc3-a64d-4cc6-bd4f-f46eb5f096c9" providerId="ADAL" clId="{5B76CEF1-A6E3-49E3-8F70-F81E9495ECB4}" dt="2023-08-14T17:27:26.622" v="6606" actId="34135"/>
          <ac:spMkLst>
            <pc:docMk/>
            <pc:sldMk cId="996242805" sldId="555"/>
            <ac:spMk id="5" creationId="{8F635F14-0365-9356-9482-7FAF6E6EE614}"/>
          </ac:spMkLst>
        </pc:spChg>
        <pc:spChg chg="add mod">
          <ac:chgData name="Trauer" userId="aa8b9dc3-a64d-4cc6-bd4f-f46eb5f096c9" providerId="ADAL" clId="{5B76CEF1-A6E3-49E3-8F70-F81E9495ECB4}" dt="2023-08-14T17:27:26.622" v="6606" actId="34135"/>
          <ac:spMkLst>
            <pc:docMk/>
            <pc:sldMk cId="996242805" sldId="555"/>
            <ac:spMk id="6" creationId="{4C89EBCE-0E72-C64F-2C7A-5D1795D17CEC}"/>
          </ac:spMkLst>
        </pc:spChg>
        <pc:spChg chg="add mod">
          <ac:chgData name="Trauer" userId="aa8b9dc3-a64d-4cc6-bd4f-f46eb5f096c9" providerId="ADAL" clId="{5B76CEF1-A6E3-49E3-8F70-F81E9495ECB4}" dt="2023-08-14T17:27:26.622" v="6606" actId="34135"/>
          <ac:spMkLst>
            <pc:docMk/>
            <pc:sldMk cId="996242805" sldId="555"/>
            <ac:spMk id="7" creationId="{D2B39995-6021-C36F-8527-F9A76BFA48E4}"/>
          </ac:spMkLst>
        </pc:spChg>
        <pc:spChg chg="add mod">
          <ac:chgData name="Trauer" userId="aa8b9dc3-a64d-4cc6-bd4f-f46eb5f096c9" providerId="ADAL" clId="{5B76CEF1-A6E3-49E3-8F70-F81E9495ECB4}" dt="2023-08-14T17:27:26.622" v="6606" actId="34135"/>
          <ac:spMkLst>
            <pc:docMk/>
            <pc:sldMk cId="996242805" sldId="555"/>
            <ac:spMk id="8" creationId="{24A8D29C-31EA-509C-F2AE-500DD645FA11}"/>
          </ac:spMkLst>
        </pc:spChg>
        <pc:spChg chg="add mod">
          <ac:chgData name="Trauer" userId="aa8b9dc3-a64d-4cc6-bd4f-f46eb5f096c9" providerId="ADAL" clId="{5B76CEF1-A6E3-49E3-8F70-F81E9495ECB4}" dt="2023-08-14T17:27:26.622" v="6606" actId="34135"/>
          <ac:spMkLst>
            <pc:docMk/>
            <pc:sldMk cId="996242805" sldId="555"/>
            <ac:spMk id="9" creationId="{B29EA33E-3CF4-C357-3B7F-196B70647427}"/>
          </ac:spMkLst>
        </pc:spChg>
        <pc:spChg chg="add mod">
          <ac:chgData name="Trauer" userId="aa8b9dc3-a64d-4cc6-bd4f-f46eb5f096c9" providerId="ADAL" clId="{5B76CEF1-A6E3-49E3-8F70-F81E9495ECB4}" dt="2023-08-14T17:27:26.622" v="6606" actId="34135"/>
          <ac:spMkLst>
            <pc:docMk/>
            <pc:sldMk cId="996242805" sldId="555"/>
            <ac:spMk id="10" creationId="{0A956682-E7D4-B3EA-64CF-BFA5A197B747}"/>
          </ac:spMkLst>
        </pc:spChg>
        <pc:spChg chg="add mod ord">
          <ac:chgData name="Trauer" userId="aa8b9dc3-a64d-4cc6-bd4f-f46eb5f096c9" providerId="ADAL" clId="{5B76CEF1-A6E3-49E3-8F70-F81E9495ECB4}" dt="2023-08-14T17:27:26.622" v="6606" actId="34135"/>
          <ac:spMkLst>
            <pc:docMk/>
            <pc:sldMk cId="996242805" sldId="555"/>
            <ac:spMk id="11" creationId="{41EED9F0-A1AF-2C03-0767-43740022B9E4}"/>
          </ac:spMkLst>
        </pc:spChg>
        <pc:spChg chg="add mod ord">
          <ac:chgData name="Trauer" userId="aa8b9dc3-a64d-4cc6-bd4f-f46eb5f096c9" providerId="ADAL" clId="{5B76CEF1-A6E3-49E3-8F70-F81E9495ECB4}" dt="2023-08-14T17:27:26.622" v="6606" actId="34135"/>
          <ac:spMkLst>
            <pc:docMk/>
            <pc:sldMk cId="996242805" sldId="555"/>
            <ac:spMk id="12" creationId="{FDAD6904-BEE4-7515-E757-E9A38A54824C}"/>
          </ac:spMkLst>
        </pc:spChg>
        <pc:spChg chg="add mod">
          <ac:chgData name="Trauer" userId="aa8b9dc3-a64d-4cc6-bd4f-f46eb5f096c9" providerId="ADAL" clId="{5B76CEF1-A6E3-49E3-8F70-F81E9495ECB4}" dt="2023-08-14T17:27:26.622" v="6606" actId="34135"/>
          <ac:spMkLst>
            <pc:docMk/>
            <pc:sldMk cId="996242805" sldId="555"/>
            <ac:spMk id="13" creationId="{70AC0543-6FD5-AAED-D429-45348F94CD11}"/>
          </ac:spMkLst>
        </pc:spChg>
        <pc:spChg chg="add mod">
          <ac:chgData name="Trauer" userId="aa8b9dc3-a64d-4cc6-bd4f-f46eb5f096c9" providerId="ADAL" clId="{5B76CEF1-A6E3-49E3-8F70-F81E9495ECB4}" dt="2023-08-14T16:19:45.540" v="3181"/>
          <ac:spMkLst>
            <pc:docMk/>
            <pc:sldMk cId="996242805" sldId="555"/>
            <ac:spMk id="14" creationId="{2F383D22-9D1D-CEDA-57A8-4BED6EB94BA8}"/>
          </ac:spMkLst>
        </pc:spChg>
      </pc:sldChg>
      <pc:sldChg chg="addSp delSp modSp new del mod chgLayout">
        <pc:chgData name="Trauer" userId="aa8b9dc3-a64d-4cc6-bd4f-f46eb5f096c9" providerId="ADAL" clId="{5B76CEF1-A6E3-49E3-8F70-F81E9495ECB4}" dt="2023-08-14T16:09:24.290" v="2766" actId="47"/>
        <pc:sldMkLst>
          <pc:docMk/>
          <pc:sldMk cId="3550299479" sldId="555"/>
        </pc:sldMkLst>
        <pc:spChg chg="del">
          <ac:chgData name="Trauer" userId="aa8b9dc3-a64d-4cc6-bd4f-f46eb5f096c9" providerId="ADAL" clId="{5B76CEF1-A6E3-49E3-8F70-F81E9495ECB4}" dt="2023-08-14T15:25:05.939" v="2595" actId="700"/>
          <ac:spMkLst>
            <pc:docMk/>
            <pc:sldMk cId="3550299479" sldId="555"/>
            <ac:spMk id="2" creationId="{70337FC9-9635-6F61-BE58-27FDD98B0A5D}"/>
          </ac:spMkLst>
        </pc:spChg>
        <pc:spChg chg="add mod ord">
          <ac:chgData name="Trauer" userId="aa8b9dc3-a64d-4cc6-bd4f-f46eb5f096c9" providerId="ADAL" clId="{5B76CEF1-A6E3-49E3-8F70-F81E9495ECB4}" dt="2023-08-14T15:25:05.939" v="2595" actId="700"/>
          <ac:spMkLst>
            <pc:docMk/>
            <pc:sldMk cId="3550299479" sldId="555"/>
            <ac:spMk id="3" creationId="{112056D9-2952-C59C-0BEF-3B285D9B5B37}"/>
          </ac:spMkLst>
        </pc:spChg>
        <pc:spChg chg="add mod ord">
          <ac:chgData name="Trauer" userId="aa8b9dc3-a64d-4cc6-bd4f-f46eb5f096c9" providerId="ADAL" clId="{5B76CEF1-A6E3-49E3-8F70-F81E9495ECB4}" dt="2023-08-14T15:25:05.939" v="2595" actId="700"/>
          <ac:spMkLst>
            <pc:docMk/>
            <pc:sldMk cId="3550299479" sldId="555"/>
            <ac:spMk id="4" creationId="{86F5BDDF-9147-AF5F-D67C-4B1204C5AED4}"/>
          </ac:spMkLst>
        </pc:spChg>
      </pc:sldChg>
      <pc:sldChg chg="new add del">
        <pc:chgData name="Trauer" userId="aa8b9dc3-a64d-4cc6-bd4f-f46eb5f096c9" providerId="ADAL" clId="{5B76CEF1-A6E3-49E3-8F70-F81E9495ECB4}" dt="2023-08-14T15:12:46.505" v="2365" actId="47"/>
        <pc:sldMkLst>
          <pc:docMk/>
          <pc:sldMk cId="4214056164" sldId="555"/>
        </pc:sldMkLst>
      </pc:sldChg>
      <pc:sldChg chg="addSp delSp modSp new del mod modClrScheme chgLayout">
        <pc:chgData name="Trauer" userId="aa8b9dc3-a64d-4cc6-bd4f-f46eb5f096c9" providerId="ADAL" clId="{5B76CEF1-A6E3-49E3-8F70-F81E9495ECB4}" dt="2023-08-14T16:09:24.290" v="2766" actId="47"/>
        <pc:sldMkLst>
          <pc:docMk/>
          <pc:sldMk cId="300858644" sldId="556"/>
        </pc:sldMkLst>
        <pc:spChg chg="add del mod ord">
          <ac:chgData name="Trauer" userId="aa8b9dc3-a64d-4cc6-bd4f-f46eb5f096c9" providerId="ADAL" clId="{5B76CEF1-A6E3-49E3-8F70-F81E9495ECB4}" dt="2023-08-14T15:27:37.296" v="2600" actId="700"/>
          <ac:spMkLst>
            <pc:docMk/>
            <pc:sldMk cId="300858644" sldId="556"/>
            <ac:spMk id="2" creationId="{6F866F3E-74F7-7DA3-B60F-AB272082CB96}"/>
          </ac:spMkLst>
        </pc:spChg>
        <pc:spChg chg="add mod ord">
          <ac:chgData name="Trauer" userId="aa8b9dc3-a64d-4cc6-bd4f-f46eb5f096c9" providerId="ADAL" clId="{5B76CEF1-A6E3-49E3-8F70-F81E9495ECB4}" dt="2023-08-14T15:27:37.296" v="2600" actId="700"/>
          <ac:spMkLst>
            <pc:docMk/>
            <pc:sldMk cId="300858644" sldId="556"/>
            <ac:spMk id="3" creationId="{CB2FD515-A8F9-997C-3650-8D844815FE3F}"/>
          </ac:spMkLst>
        </pc:spChg>
      </pc:sldChg>
      <pc:sldChg chg="addSp modSp new mod modTransition">
        <pc:chgData name="Trauer" userId="aa8b9dc3-a64d-4cc6-bd4f-f46eb5f096c9" providerId="ADAL" clId="{5B76CEF1-A6E3-49E3-8F70-F81E9495ECB4}" dt="2023-08-14T17:27:34.448" v="6607" actId="34135"/>
        <pc:sldMkLst>
          <pc:docMk/>
          <pc:sldMk cId="3317554172" sldId="556"/>
        </pc:sldMkLst>
        <pc:spChg chg="mod">
          <ac:chgData name="Trauer" userId="aa8b9dc3-a64d-4cc6-bd4f-f46eb5f096c9" providerId="ADAL" clId="{5B76CEF1-A6E3-49E3-8F70-F81E9495ECB4}" dt="2023-08-14T16:11:40.946" v="2863" actId="20577"/>
          <ac:spMkLst>
            <pc:docMk/>
            <pc:sldMk cId="3317554172" sldId="556"/>
            <ac:spMk id="2" creationId="{2FB5BC41-492A-717B-0A08-7545AD4F9D7E}"/>
          </ac:spMkLst>
        </pc:spChg>
        <pc:spChg chg="add mod">
          <ac:chgData name="Trauer" userId="aa8b9dc3-a64d-4cc6-bd4f-f46eb5f096c9" providerId="ADAL" clId="{5B76CEF1-A6E3-49E3-8F70-F81E9495ECB4}" dt="2023-08-14T17:27:34.448" v="6607" actId="34135"/>
          <ac:spMkLst>
            <pc:docMk/>
            <pc:sldMk cId="3317554172" sldId="556"/>
            <ac:spMk id="3" creationId="{CB67864B-8D96-BED7-877A-0B027C801BC0}"/>
          </ac:spMkLst>
        </pc:spChg>
        <pc:spChg chg="add mod">
          <ac:chgData name="Trauer" userId="aa8b9dc3-a64d-4cc6-bd4f-f46eb5f096c9" providerId="ADAL" clId="{5B76CEF1-A6E3-49E3-8F70-F81E9495ECB4}" dt="2023-08-14T17:27:34.448" v="6607" actId="34135"/>
          <ac:spMkLst>
            <pc:docMk/>
            <pc:sldMk cId="3317554172" sldId="556"/>
            <ac:spMk id="4" creationId="{FE7074A1-BE05-B54E-D49E-8C021FA329F4}"/>
          </ac:spMkLst>
        </pc:spChg>
        <pc:spChg chg="add mod">
          <ac:chgData name="Trauer" userId="aa8b9dc3-a64d-4cc6-bd4f-f46eb5f096c9" providerId="ADAL" clId="{5B76CEF1-A6E3-49E3-8F70-F81E9495ECB4}" dt="2023-08-14T17:27:34.448" v="6607" actId="34135"/>
          <ac:spMkLst>
            <pc:docMk/>
            <pc:sldMk cId="3317554172" sldId="556"/>
            <ac:spMk id="5" creationId="{A80EEE64-3202-65C6-EB33-4946D21E0ABA}"/>
          </ac:spMkLst>
        </pc:spChg>
        <pc:spChg chg="add mod">
          <ac:chgData name="Trauer" userId="aa8b9dc3-a64d-4cc6-bd4f-f46eb5f096c9" providerId="ADAL" clId="{5B76CEF1-A6E3-49E3-8F70-F81E9495ECB4}" dt="2023-08-14T17:27:34.448" v="6607" actId="34135"/>
          <ac:spMkLst>
            <pc:docMk/>
            <pc:sldMk cId="3317554172" sldId="556"/>
            <ac:spMk id="6" creationId="{8A24D3E9-87F6-7D40-F789-1F4299C92465}"/>
          </ac:spMkLst>
        </pc:spChg>
        <pc:spChg chg="add mod">
          <ac:chgData name="Trauer" userId="aa8b9dc3-a64d-4cc6-bd4f-f46eb5f096c9" providerId="ADAL" clId="{5B76CEF1-A6E3-49E3-8F70-F81E9495ECB4}" dt="2023-08-14T17:27:34.448" v="6607" actId="34135"/>
          <ac:spMkLst>
            <pc:docMk/>
            <pc:sldMk cId="3317554172" sldId="556"/>
            <ac:spMk id="7" creationId="{54DBA32B-E978-1C43-12BD-4EDFB3EDC10E}"/>
          </ac:spMkLst>
        </pc:spChg>
        <pc:spChg chg="add mod">
          <ac:chgData name="Trauer" userId="aa8b9dc3-a64d-4cc6-bd4f-f46eb5f096c9" providerId="ADAL" clId="{5B76CEF1-A6E3-49E3-8F70-F81E9495ECB4}" dt="2023-08-14T17:27:34.448" v="6607" actId="34135"/>
          <ac:spMkLst>
            <pc:docMk/>
            <pc:sldMk cId="3317554172" sldId="556"/>
            <ac:spMk id="8" creationId="{7960D129-9F95-C99F-326A-9CD35B7FF0BB}"/>
          </ac:spMkLst>
        </pc:spChg>
        <pc:spChg chg="add mod ord">
          <ac:chgData name="Trauer" userId="aa8b9dc3-a64d-4cc6-bd4f-f46eb5f096c9" providerId="ADAL" clId="{5B76CEF1-A6E3-49E3-8F70-F81E9495ECB4}" dt="2023-08-14T17:27:34.448" v="6607" actId="34135"/>
          <ac:spMkLst>
            <pc:docMk/>
            <pc:sldMk cId="3317554172" sldId="556"/>
            <ac:spMk id="9" creationId="{DB24D12C-92DE-65F6-ABB7-F03754384AA2}"/>
          </ac:spMkLst>
        </pc:spChg>
        <pc:spChg chg="add mod ord">
          <ac:chgData name="Trauer" userId="aa8b9dc3-a64d-4cc6-bd4f-f46eb5f096c9" providerId="ADAL" clId="{5B76CEF1-A6E3-49E3-8F70-F81E9495ECB4}" dt="2023-08-14T17:27:34.448" v="6607" actId="34135"/>
          <ac:spMkLst>
            <pc:docMk/>
            <pc:sldMk cId="3317554172" sldId="556"/>
            <ac:spMk id="10" creationId="{27A0DD55-47D5-BD0D-D7D6-F49EA28302C4}"/>
          </ac:spMkLst>
        </pc:spChg>
        <pc:spChg chg="add mod ord">
          <ac:chgData name="Trauer" userId="aa8b9dc3-a64d-4cc6-bd4f-f46eb5f096c9" providerId="ADAL" clId="{5B76CEF1-A6E3-49E3-8F70-F81E9495ECB4}" dt="2023-08-14T17:27:34.448" v="6607" actId="34135"/>
          <ac:spMkLst>
            <pc:docMk/>
            <pc:sldMk cId="3317554172" sldId="556"/>
            <ac:spMk id="11" creationId="{092FD0D3-20E4-58ED-A794-8BB003F4678A}"/>
          </ac:spMkLst>
        </pc:spChg>
        <pc:spChg chg="add mod">
          <ac:chgData name="Trauer" userId="aa8b9dc3-a64d-4cc6-bd4f-f46eb5f096c9" providerId="ADAL" clId="{5B76CEF1-A6E3-49E3-8F70-F81E9495ECB4}" dt="2023-08-14T17:27:34.448" v="6607" actId="34135"/>
          <ac:spMkLst>
            <pc:docMk/>
            <pc:sldMk cId="3317554172" sldId="556"/>
            <ac:spMk id="12" creationId="{419E3997-4E7B-CA4F-42A7-0E4646B9C665}"/>
          </ac:spMkLst>
        </pc:spChg>
        <pc:spChg chg="add mod">
          <ac:chgData name="Trauer" userId="aa8b9dc3-a64d-4cc6-bd4f-f46eb5f096c9" providerId="ADAL" clId="{5B76CEF1-A6E3-49E3-8F70-F81E9495ECB4}" dt="2023-08-14T16:19:47.276" v="3182"/>
          <ac:spMkLst>
            <pc:docMk/>
            <pc:sldMk cId="3317554172" sldId="556"/>
            <ac:spMk id="13" creationId="{CEED2032-CC7D-8F9B-A7D0-04DCCEAF831F}"/>
          </ac:spMkLst>
        </pc:spChg>
      </pc:sldChg>
      <pc:sldChg chg="addSp modSp new mod modTransition">
        <pc:chgData name="Trauer" userId="aa8b9dc3-a64d-4cc6-bd4f-f46eb5f096c9" providerId="ADAL" clId="{5B76CEF1-A6E3-49E3-8F70-F81E9495ECB4}" dt="2023-08-14T17:27:41.443" v="6608" actId="34135"/>
        <pc:sldMkLst>
          <pc:docMk/>
          <pc:sldMk cId="273520062" sldId="557"/>
        </pc:sldMkLst>
        <pc:spChg chg="mod">
          <ac:chgData name="Trauer" userId="aa8b9dc3-a64d-4cc6-bd4f-f46eb5f096c9" providerId="ADAL" clId="{5B76CEF1-A6E3-49E3-8F70-F81E9495ECB4}" dt="2023-08-14T16:11:54.567" v="2887" actId="20577"/>
          <ac:spMkLst>
            <pc:docMk/>
            <pc:sldMk cId="273520062" sldId="557"/>
            <ac:spMk id="2" creationId="{2C79748B-3222-4F33-BF42-DE3DA2E36E34}"/>
          </ac:spMkLst>
        </pc:spChg>
        <pc:spChg chg="add mod">
          <ac:chgData name="Trauer" userId="aa8b9dc3-a64d-4cc6-bd4f-f46eb5f096c9" providerId="ADAL" clId="{5B76CEF1-A6E3-49E3-8F70-F81E9495ECB4}" dt="2023-08-14T17:27:41.443" v="6608" actId="34135"/>
          <ac:spMkLst>
            <pc:docMk/>
            <pc:sldMk cId="273520062" sldId="557"/>
            <ac:spMk id="3" creationId="{8FD1227A-0313-65B7-A49D-490794B5B7F4}"/>
          </ac:spMkLst>
        </pc:spChg>
        <pc:spChg chg="add mod">
          <ac:chgData name="Trauer" userId="aa8b9dc3-a64d-4cc6-bd4f-f46eb5f096c9" providerId="ADAL" clId="{5B76CEF1-A6E3-49E3-8F70-F81E9495ECB4}" dt="2023-08-14T17:27:41.443" v="6608" actId="34135"/>
          <ac:spMkLst>
            <pc:docMk/>
            <pc:sldMk cId="273520062" sldId="557"/>
            <ac:spMk id="4" creationId="{9179B57F-8CF5-9102-E3D3-E5A8DFDB125F}"/>
          </ac:spMkLst>
        </pc:spChg>
        <pc:spChg chg="add mod">
          <ac:chgData name="Trauer" userId="aa8b9dc3-a64d-4cc6-bd4f-f46eb5f096c9" providerId="ADAL" clId="{5B76CEF1-A6E3-49E3-8F70-F81E9495ECB4}" dt="2023-08-14T17:27:41.443" v="6608" actId="34135"/>
          <ac:spMkLst>
            <pc:docMk/>
            <pc:sldMk cId="273520062" sldId="557"/>
            <ac:spMk id="5" creationId="{E6085C2E-1DF7-DDC7-07A5-7821B48C6D04}"/>
          </ac:spMkLst>
        </pc:spChg>
        <pc:spChg chg="add mod">
          <ac:chgData name="Trauer" userId="aa8b9dc3-a64d-4cc6-bd4f-f46eb5f096c9" providerId="ADAL" clId="{5B76CEF1-A6E3-49E3-8F70-F81E9495ECB4}" dt="2023-08-14T17:27:41.443" v="6608" actId="34135"/>
          <ac:spMkLst>
            <pc:docMk/>
            <pc:sldMk cId="273520062" sldId="557"/>
            <ac:spMk id="6" creationId="{661ED923-4331-BDF8-CD33-90587D6229CA}"/>
          </ac:spMkLst>
        </pc:spChg>
        <pc:spChg chg="add mod">
          <ac:chgData name="Trauer" userId="aa8b9dc3-a64d-4cc6-bd4f-f46eb5f096c9" providerId="ADAL" clId="{5B76CEF1-A6E3-49E3-8F70-F81E9495ECB4}" dt="2023-08-14T17:27:41.443" v="6608" actId="34135"/>
          <ac:spMkLst>
            <pc:docMk/>
            <pc:sldMk cId="273520062" sldId="557"/>
            <ac:spMk id="7" creationId="{2E42FB53-718E-DF40-3B43-8950435DFC5D}"/>
          </ac:spMkLst>
        </pc:spChg>
        <pc:spChg chg="add mod ord">
          <ac:chgData name="Trauer" userId="aa8b9dc3-a64d-4cc6-bd4f-f46eb5f096c9" providerId="ADAL" clId="{5B76CEF1-A6E3-49E3-8F70-F81E9495ECB4}" dt="2023-08-14T17:27:41.443" v="6608" actId="34135"/>
          <ac:spMkLst>
            <pc:docMk/>
            <pc:sldMk cId="273520062" sldId="557"/>
            <ac:spMk id="8" creationId="{749FC6BF-6507-8DFF-20E1-A297692431EB}"/>
          </ac:spMkLst>
        </pc:spChg>
        <pc:spChg chg="add mod ord">
          <ac:chgData name="Trauer" userId="aa8b9dc3-a64d-4cc6-bd4f-f46eb5f096c9" providerId="ADAL" clId="{5B76CEF1-A6E3-49E3-8F70-F81E9495ECB4}" dt="2023-08-14T17:27:41.443" v="6608" actId="34135"/>
          <ac:spMkLst>
            <pc:docMk/>
            <pc:sldMk cId="273520062" sldId="557"/>
            <ac:spMk id="9" creationId="{5BCEEF58-6A0E-D8A1-D753-52E89C1ACB05}"/>
          </ac:spMkLst>
        </pc:spChg>
        <pc:spChg chg="add mod ord">
          <ac:chgData name="Trauer" userId="aa8b9dc3-a64d-4cc6-bd4f-f46eb5f096c9" providerId="ADAL" clId="{5B76CEF1-A6E3-49E3-8F70-F81E9495ECB4}" dt="2023-08-14T17:27:41.443" v="6608" actId="34135"/>
          <ac:spMkLst>
            <pc:docMk/>
            <pc:sldMk cId="273520062" sldId="557"/>
            <ac:spMk id="10" creationId="{51233998-A407-E5F7-48D9-B6296AC7CE46}"/>
          </ac:spMkLst>
        </pc:spChg>
        <pc:spChg chg="add mod ord">
          <ac:chgData name="Trauer" userId="aa8b9dc3-a64d-4cc6-bd4f-f46eb5f096c9" providerId="ADAL" clId="{5B76CEF1-A6E3-49E3-8F70-F81E9495ECB4}" dt="2023-08-14T17:27:41.443" v="6608" actId="34135"/>
          <ac:spMkLst>
            <pc:docMk/>
            <pc:sldMk cId="273520062" sldId="557"/>
            <ac:spMk id="11" creationId="{742257F6-8BF4-21D4-2C43-99B06E274146}"/>
          </ac:spMkLst>
        </pc:spChg>
        <pc:spChg chg="add mod">
          <ac:chgData name="Trauer" userId="aa8b9dc3-a64d-4cc6-bd4f-f46eb5f096c9" providerId="ADAL" clId="{5B76CEF1-A6E3-49E3-8F70-F81E9495ECB4}" dt="2023-08-14T17:27:41.443" v="6608" actId="34135"/>
          <ac:spMkLst>
            <pc:docMk/>
            <pc:sldMk cId="273520062" sldId="557"/>
            <ac:spMk id="12" creationId="{42A5C223-3B09-FF68-0B32-92CFD00B67F4}"/>
          </ac:spMkLst>
        </pc:spChg>
        <pc:spChg chg="add mod">
          <ac:chgData name="Trauer" userId="aa8b9dc3-a64d-4cc6-bd4f-f46eb5f096c9" providerId="ADAL" clId="{5B76CEF1-A6E3-49E3-8F70-F81E9495ECB4}" dt="2023-08-14T16:19:48.558" v="3183"/>
          <ac:spMkLst>
            <pc:docMk/>
            <pc:sldMk cId="273520062" sldId="557"/>
            <ac:spMk id="13" creationId="{B77E14AC-9FDF-57DD-4A89-7B7FBDE3D56B}"/>
          </ac:spMkLst>
        </pc:spChg>
      </pc:sldChg>
      <pc:sldChg chg="addSp modSp new del mod chgLayout">
        <pc:chgData name="Trauer" userId="aa8b9dc3-a64d-4cc6-bd4f-f46eb5f096c9" providerId="ADAL" clId="{5B76CEF1-A6E3-49E3-8F70-F81E9495ECB4}" dt="2023-08-14T16:09:24.290" v="2766" actId="47"/>
        <pc:sldMkLst>
          <pc:docMk/>
          <pc:sldMk cId="3253275742" sldId="557"/>
        </pc:sldMkLst>
        <pc:spChg chg="add mod">
          <ac:chgData name="Trauer" userId="aa8b9dc3-a64d-4cc6-bd4f-f46eb5f096c9" providerId="ADAL" clId="{5B76CEF1-A6E3-49E3-8F70-F81E9495ECB4}" dt="2023-08-14T15:27:20.950" v="2597" actId="700"/>
          <ac:spMkLst>
            <pc:docMk/>
            <pc:sldMk cId="3253275742" sldId="557"/>
            <ac:spMk id="2" creationId="{131C631F-E9D8-22F1-FD2A-E779215ADA14}"/>
          </ac:spMkLst>
        </pc:spChg>
      </pc:sldChg>
      <pc:sldChg chg="addSp modSp new mod modTransition">
        <pc:chgData name="Trauer" userId="aa8b9dc3-a64d-4cc6-bd4f-f46eb5f096c9" providerId="ADAL" clId="{5B76CEF1-A6E3-49E3-8F70-F81E9495ECB4}" dt="2023-08-14T17:27:48.087" v="6609" actId="34135"/>
        <pc:sldMkLst>
          <pc:docMk/>
          <pc:sldMk cId="35941190" sldId="558"/>
        </pc:sldMkLst>
        <pc:spChg chg="mod">
          <ac:chgData name="Trauer" userId="aa8b9dc3-a64d-4cc6-bd4f-f46eb5f096c9" providerId="ADAL" clId="{5B76CEF1-A6E3-49E3-8F70-F81E9495ECB4}" dt="2023-08-14T16:12:03.267" v="2907" actId="20577"/>
          <ac:spMkLst>
            <pc:docMk/>
            <pc:sldMk cId="35941190" sldId="558"/>
            <ac:spMk id="2" creationId="{C03E2514-49AF-C8FD-590B-93CD082FD481}"/>
          </ac:spMkLst>
        </pc:spChg>
        <pc:spChg chg="add mod">
          <ac:chgData name="Trauer" userId="aa8b9dc3-a64d-4cc6-bd4f-f46eb5f096c9" providerId="ADAL" clId="{5B76CEF1-A6E3-49E3-8F70-F81E9495ECB4}" dt="2023-08-14T17:27:48.087" v="6609" actId="34135"/>
          <ac:spMkLst>
            <pc:docMk/>
            <pc:sldMk cId="35941190" sldId="558"/>
            <ac:spMk id="3" creationId="{D45FA000-3C29-3D43-88C6-59D66E4C8F97}"/>
          </ac:spMkLst>
        </pc:spChg>
        <pc:spChg chg="add mod">
          <ac:chgData name="Trauer" userId="aa8b9dc3-a64d-4cc6-bd4f-f46eb5f096c9" providerId="ADAL" clId="{5B76CEF1-A6E3-49E3-8F70-F81E9495ECB4}" dt="2023-08-14T17:27:48.087" v="6609" actId="34135"/>
          <ac:spMkLst>
            <pc:docMk/>
            <pc:sldMk cId="35941190" sldId="558"/>
            <ac:spMk id="4" creationId="{5ECC504A-8E18-2B87-C314-8BAAE162FE54}"/>
          </ac:spMkLst>
        </pc:spChg>
        <pc:spChg chg="add mod">
          <ac:chgData name="Trauer" userId="aa8b9dc3-a64d-4cc6-bd4f-f46eb5f096c9" providerId="ADAL" clId="{5B76CEF1-A6E3-49E3-8F70-F81E9495ECB4}" dt="2023-08-14T17:27:48.087" v="6609" actId="34135"/>
          <ac:spMkLst>
            <pc:docMk/>
            <pc:sldMk cId="35941190" sldId="558"/>
            <ac:spMk id="5" creationId="{F17015BC-AFEB-17BC-597D-0CDA06AAF888}"/>
          </ac:spMkLst>
        </pc:spChg>
        <pc:spChg chg="add mod">
          <ac:chgData name="Trauer" userId="aa8b9dc3-a64d-4cc6-bd4f-f46eb5f096c9" providerId="ADAL" clId="{5B76CEF1-A6E3-49E3-8F70-F81E9495ECB4}" dt="2023-08-14T17:27:48.087" v="6609" actId="34135"/>
          <ac:spMkLst>
            <pc:docMk/>
            <pc:sldMk cId="35941190" sldId="558"/>
            <ac:spMk id="6" creationId="{F6687BB5-3D53-0597-AAA8-AFBFED8B31B4}"/>
          </ac:spMkLst>
        </pc:spChg>
        <pc:spChg chg="add mod ord">
          <ac:chgData name="Trauer" userId="aa8b9dc3-a64d-4cc6-bd4f-f46eb5f096c9" providerId="ADAL" clId="{5B76CEF1-A6E3-49E3-8F70-F81E9495ECB4}" dt="2023-08-14T17:27:48.087" v="6609" actId="34135"/>
          <ac:spMkLst>
            <pc:docMk/>
            <pc:sldMk cId="35941190" sldId="558"/>
            <ac:spMk id="7" creationId="{2F73F65F-BCA5-8CFE-562A-E2AC648CFB6C}"/>
          </ac:spMkLst>
        </pc:spChg>
        <pc:spChg chg="add mod ord">
          <ac:chgData name="Trauer" userId="aa8b9dc3-a64d-4cc6-bd4f-f46eb5f096c9" providerId="ADAL" clId="{5B76CEF1-A6E3-49E3-8F70-F81E9495ECB4}" dt="2023-08-14T17:27:48.087" v="6609" actId="34135"/>
          <ac:spMkLst>
            <pc:docMk/>
            <pc:sldMk cId="35941190" sldId="558"/>
            <ac:spMk id="8" creationId="{FD1B1259-CFD4-9CF1-9868-609267493A53}"/>
          </ac:spMkLst>
        </pc:spChg>
        <pc:spChg chg="add mod ord">
          <ac:chgData name="Trauer" userId="aa8b9dc3-a64d-4cc6-bd4f-f46eb5f096c9" providerId="ADAL" clId="{5B76CEF1-A6E3-49E3-8F70-F81E9495ECB4}" dt="2023-08-14T17:27:48.087" v="6609" actId="34135"/>
          <ac:spMkLst>
            <pc:docMk/>
            <pc:sldMk cId="35941190" sldId="558"/>
            <ac:spMk id="9" creationId="{9D6420FC-0A38-E77E-A2AB-04B761C4A972}"/>
          </ac:spMkLst>
        </pc:spChg>
        <pc:spChg chg="add mod ord">
          <ac:chgData name="Trauer" userId="aa8b9dc3-a64d-4cc6-bd4f-f46eb5f096c9" providerId="ADAL" clId="{5B76CEF1-A6E3-49E3-8F70-F81E9495ECB4}" dt="2023-08-14T17:27:48.087" v="6609" actId="34135"/>
          <ac:spMkLst>
            <pc:docMk/>
            <pc:sldMk cId="35941190" sldId="558"/>
            <ac:spMk id="10" creationId="{A3E4E0A0-2D45-21C2-1857-32A15662C346}"/>
          </ac:spMkLst>
        </pc:spChg>
        <pc:spChg chg="add mod ord">
          <ac:chgData name="Trauer" userId="aa8b9dc3-a64d-4cc6-bd4f-f46eb5f096c9" providerId="ADAL" clId="{5B76CEF1-A6E3-49E3-8F70-F81E9495ECB4}" dt="2023-08-14T17:27:48.087" v="6609" actId="34135"/>
          <ac:spMkLst>
            <pc:docMk/>
            <pc:sldMk cId="35941190" sldId="558"/>
            <ac:spMk id="11" creationId="{400BEE45-5C8C-FCD8-7D5E-996143627F91}"/>
          </ac:spMkLst>
        </pc:spChg>
        <pc:spChg chg="add mod">
          <ac:chgData name="Trauer" userId="aa8b9dc3-a64d-4cc6-bd4f-f46eb5f096c9" providerId="ADAL" clId="{5B76CEF1-A6E3-49E3-8F70-F81E9495ECB4}" dt="2023-08-14T17:27:48.087" v="6609" actId="34135"/>
          <ac:spMkLst>
            <pc:docMk/>
            <pc:sldMk cId="35941190" sldId="558"/>
            <ac:spMk id="12" creationId="{6B58154B-5DFB-2AC4-8AB8-36B32A1BC898}"/>
          </ac:spMkLst>
        </pc:spChg>
        <pc:spChg chg="add mod">
          <ac:chgData name="Trauer" userId="aa8b9dc3-a64d-4cc6-bd4f-f46eb5f096c9" providerId="ADAL" clId="{5B76CEF1-A6E3-49E3-8F70-F81E9495ECB4}" dt="2023-08-14T16:19:49.795" v="3184"/>
          <ac:spMkLst>
            <pc:docMk/>
            <pc:sldMk cId="35941190" sldId="558"/>
            <ac:spMk id="13" creationId="{0CD643FE-91C2-EE03-E98F-7068D2372CD9}"/>
          </ac:spMkLst>
        </pc:spChg>
      </pc:sldChg>
      <pc:sldChg chg="new del">
        <pc:chgData name="Trauer" userId="aa8b9dc3-a64d-4cc6-bd4f-f46eb5f096c9" providerId="ADAL" clId="{5B76CEF1-A6E3-49E3-8F70-F81E9495ECB4}" dt="2023-08-14T16:09:24.290" v="2766" actId="47"/>
        <pc:sldMkLst>
          <pc:docMk/>
          <pc:sldMk cId="2007100625" sldId="558"/>
        </pc:sldMkLst>
      </pc:sldChg>
      <pc:sldChg chg="new del">
        <pc:chgData name="Trauer" userId="aa8b9dc3-a64d-4cc6-bd4f-f46eb5f096c9" providerId="ADAL" clId="{5B76CEF1-A6E3-49E3-8F70-F81E9495ECB4}" dt="2023-08-14T16:09:24.290" v="2766" actId="47"/>
        <pc:sldMkLst>
          <pc:docMk/>
          <pc:sldMk cId="2061601967" sldId="559"/>
        </pc:sldMkLst>
      </pc:sldChg>
      <pc:sldChg chg="addSp modSp new mod modTransition">
        <pc:chgData name="Trauer" userId="aa8b9dc3-a64d-4cc6-bd4f-f46eb5f096c9" providerId="ADAL" clId="{5B76CEF1-A6E3-49E3-8F70-F81E9495ECB4}" dt="2023-08-14T17:28:05.686" v="6611" actId="34135"/>
        <pc:sldMkLst>
          <pc:docMk/>
          <pc:sldMk cId="3947652096" sldId="559"/>
        </pc:sldMkLst>
        <pc:spChg chg="mod">
          <ac:chgData name="Trauer" userId="aa8b9dc3-a64d-4cc6-bd4f-f46eb5f096c9" providerId="ADAL" clId="{5B76CEF1-A6E3-49E3-8F70-F81E9495ECB4}" dt="2023-08-14T16:12:28.705" v="2961" actId="20577"/>
          <ac:spMkLst>
            <pc:docMk/>
            <pc:sldMk cId="3947652096" sldId="559"/>
            <ac:spMk id="2" creationId="{4EFC9C4D-7AF8-162D-ECF3-DEF4825A6FD6}"/>
          </ac:spMkLst>
        </pc:spChg>
        <pc:spChg chg="add mod">
          <ac:chgData name="Trauer" userId="aa8b9dc3-a64d-4cc6-bd4f-f46eb5f096c9" providerId="ADAL" clId="{5B76CEF1-A6E3-49E3-8F70-F81E9495ECB4}" dt="2023-08-14T17:28:05.686" v="6611" actId="34135"/>
          <ac:spMkLst>
            <pc:docMk/>
            <pc:sldMk cId="3947652096" sldId="559"/>
            <ac:spMk id="3" creationId="{17A2B519-4CC6-8E45-2B35-E3DD14A24EE1}"/>
          </ac:spMkLst>
        </pc:spChg>
        <pc:spChg chg="add mod ord">
          <ac:chgData name="Trauer" userId="aa8b9dc3-a64d-4cc6-bd4f-f46eb5f096c9" providerId="ADAL" clId="{5B76CEF1-A6E3-49E3-8F70-F81E9495ECB4}" dt="2023-08-14T17:28:05.686" v="6611" actId="34135"/>
          <ac:spMkLst>
            <pc:docMk/>
            <pc:sldMk cId="3947652096" sldId="559"/>
            <ac:spMk id="4" creationId="{5571F1D4-EDCC-5319-0072-9E9E5CF994DD}"/>
          </ac:spMkLst>
        </pc:spChg>
        <pc:spChg chg="add mod ord">
          <ac:chgData name="Trauer" userId="aa8b9dc3-a64d-4cc6-bd4f-f46eb5f096c9" providerId="ADAL" clId="{5B76CEF1-A6E3-49E3-8F70-F81E9495ECB4}" dt="2023-08-14T17:28:05.686" v="6611" actId="34135"/>
          <ac:spMkLst>
            <pc:docMk/>
            <pc:sldMk cId="3947652096" sldId="559"/>
            <ac:spMk id="5" creationId="{0204DBED-DBB2-E51C-7CD7-2F5DD4FCB6CC}"/>
          </ac:spMkLst>
        </pc:spChg>
        <pc:spChg chg="add mod ord">
          <ac:chgData name="Trauer" userId="aa8b9dc3-a64d-4cc6-bd4f-f46eb5f096c9" providerId="ADAL" clId="{5B76CEF1-A6E3-49E3-8F70-F81E9495ECB4}" dt="2023-08-14T17:28:05.686" v="6611" actId="34135"/>
          <ac:spMkLst>
            <pc:docMk/>
            <pc:sldMk cId="3947652096" sldId="559"/>
            <ac:spMk id="6" creationId="{323918A0-8FD9-BA92-4108-9AA7EE4ABE9C}"/>
          </ac:spMkLst>
        </pc:spChg>
        <pc:spChg chg="add mod ord">
          <ac:chgData name="Trauer" userId="aa8b9dc3-a64d-4cc6-bd4f-f46eb5f096c9" providerId="ADAL" clId="{5B76CEF1-A6E3-49E3-8F70-F81E9495ECB4}" dt="2023-08-14T17:28:05.686" v="6611" actId="34135"/>
          <ac:spMkLst>
            <pc:docMk/>
            <pc:sldMk cId="3947652096" sldId="559"/>
            <ac:spMk id="7" creationId="{F0852428-DB94-A297-640D-A15703B7FF6D}"/>
          </ac:spMkLst>
        </pc:spChg>
        <pc:spChg chg="add mod ord">
          <ac:chgData name="Trauer" userId="aa8b9dc3-a64d-4cc6-bd4f-f46eb5f096c9" providerId="ADAL" clId="{5B76CEF1-A6E3-49E3-8F70-F81E9495ECB4}" dt="2023-08-14T17:28:05.686" v="6611" actId="34135"/>
          <ac:spMkLst>
            <pc:docMk/>
            <pc:sldMk cId="3947652096" sldId="559"/>
            <ac:spMk id="8" creationId="{CFE6EB14-6D7A-8260-C20A-5230E5DA5A7B}"/>
          </ac:spMkLst>
        </pc:spChg>
        <pc:spChg chg="add mod ord">
          <ac:chgData name="Trauer" userId="aa8b9dc3-a64d-4cc6-bd4f-f46eb5f096c9" providerId="ADAL" clId="{5B76CEF1-A6E3-49E3-8F70-F81E9495ECB4}" dt="2023-08-14T17:28:05.686" v="6611" actId="34135"/>
          <ac:spMkLst>
            <pc:docMk/>
            <pc:sldMk cId="3947652096" sldId="559"/>
            <ac:spMk id="9" creationId="{B2A287B2-3461-42F2-11C5-F7B4F799565D}"/>
          </ac:spMkLst>
        </pc:spChg>
        <pc:spChg chg="add mod ord">
          <ac:chgData name="Trauer" userId="aa8b9dc3-a64d-4cc6-bd4f-f46eb5f096c9" providerId="ADAL" clId="{5B76CEF1-A6E3-49E3-8F70-F81E9495ECB4}" dt="2023-08-14T17:28:05.686" v="6611" actId="34135"/>
          <ac:spMkLst>
            <pc:docMk/>
            <pc:sldMk cId="3947652096" sldId="559"/>
            <ac:spMk id="10" creationId="{47D55C93-9FE8-2155-3EB3-53BF7A5990E8}"/>
          </ac:spMkLst>
        </pc:spChg>
        <pc:spChg chg="add mod ord">
          <ac:chgData name="Trauer" userId="aa8b9dc3-a64d-4cc6-bd4f-f46eb5f096c9" providerId="ADAL" clId="{5B76CEF1-A6E3-49E3-8F70-F81E9495ECB4}" dt="2023-08-14T17:28:05.686" v="6611" actId="34135"/>
          <ac:spMkLst>
            <pc:docMk/>
            <pc:sldMk cId="3947652096" sldId="559"/>
            <ac:spMk id="11" creationId="{2A32D53B-9ED2-029E-5A0D-7F6C1C5D0BEF}"/>
          </ac:spMkLst>
        </pc:spChg>
        <pc:spChg chg="add mod">
          <ac:chgData name="Trauer" userId="aa8b9dc3-a64d-4cc6-bd4f-f46eb5f096c9" providerId="ADAL" clId="{5B76CEF1-A6E3-49E3-8F70-F81E9495ECB4}" dt="2023-08-14T17:28:05.686" v="6611" actId="34135"/>
          <ac:spMkLst>
            <pc:docMk/>
            <pc:sldMk cId="3947652096" sldId="559"/>
            <ac:spMk id="12" creationId="{FF745D2E-9C16-2BF8-3482-B3577E0D038A}"/>
          </ac:spMkLst>
        </pc:spChg>
        <pc:spChg chg="add mod">
          <ac:chgData name="Trauer" userId="aa8b9dc3-a64d-4cc6-bd4f-f46eb5f096c9" providerId="ADAL" clId="{5B76CEF1-A6E3-49E3-8F70-F81E9495ECB4}" dt="2023-08-14T16:19:52.169" v="3186"/>
          <ac:spMkLst>
            <pc:docMk/>
            <pc:sldMk cId="3947652096" sldId="559"/>
            <ac:spMk id="13" creationId="{6F550D10-A2C6-D940-D548-60C99E2A2DAF}"/>
          </ac:spMkLst>
        </pc:spChg>
      </pc:sldChg>
      <pc:sldChg chg="addSp modSp new mod ord modTransition">
        <pc:chgData name="Trauer" userId="aa8b9dc3-a64d-4cc6-bd4f-f46eb5f096c9" providerId="ADAL" clId="{5B76CEF1-A6E3-49E3-8F70-F81E9495ECB4}" dt="2023-08-14T17:27:56.673" v="6610" actId="34135"/>
        <pc:sldMkLst>
          <pc:docMk/>
          <pc:sldMk cId="868134689" sldId="560"/>
        </pc:sldMkLst>
        <pc:spChg chg="mod">
          <ac:chgData name="Trauer" userId="aa8b9dc3-a64d-4cc6-bd4f-f46eb5f096c9" providerId="ADAL" clId="{5B76CEF1-A6E3-49E3-8F70-F81E9495ECB4}" dt="2023-08-14T16:12:10.297" v="2922" actId="20577"/>
          <ac:spMkLst>
            <pc:docMk/>
            <pc:sldMk cId="868134689" sldId="560"/>
            <ac:spMk id="2" creationId="{9C13C2EB-6CC8-8100-F1D9-EAF895E4FA9F}"/>
          </ac:spMkLst>
        </pc:spChg>
        <pc:spChg chg="add mod">
          <ac:chgData name="Trauer" userId="aa8b9dc3-a64d-4cc6-bd4f-f46eb5f096c9" providerId="ADAL" clId="{5B76CEF1-A6E3-49E3-8F70-F81E9495ECB4}" dt="2023-08-14T17:27:56.673" v="6610" actId="34135"/>
          <ac:spMkLst>
            <pc:docMk/>
            <pc:sldMk cId="868134689" sldId="560"/>
            <ac:spMk id="3" creationId="{0BE8DF47-52AE-3282-C89D-9DC6F86555E8}"/>
          </ac:spMkLst>
        </pc:spChg>
        <pc:spChg chg="add mod">
          <ac:chgData name="Trauer" userId="aa8b9dc3-a64d-4cc6-bd4f-f46eb5f096c9" providerId="ADAL" clId="{5B76CEF1-A6E3-49E3-8F70-F81E9495ECB4}" dt="2023-08-14T17:27:56.673" v="6610" actId="34135"/>
          <ac:spMkLst>
            <pc:docMk/>
            <pc:sldMk cId="868134689" sldId="560"/>
            <ac:spMk id="4" creationId="{42EED077-5DC3-1337-499D-48B0DB704C3B}"/>
          </ac:spMkLst>
        </pc:spChg>
        <pc:spChg chg="add mod">
          <ac:chgData name="Trauer" userId="aa8b9dc3-a64d-4cc6-bd4f-f46eb5f096c9" providerId="ADAL" clId="{5B76CEF1-A6E3-49E3-8F70-F81E9495ECB4}" dt="2023-08-14T17:27:56.673" v="6610" actId="34135"/>
          <ac:spMkLst>
            <pc:docMk/>
            <pc:sldMk cId="868134689" sldId="560"/>
            <ac:spMk id="5" creationId="{556D172A-C58D-AF41-CB73-A58084640590}"/>
          </ac:spMkLst>
        </pc:spChg>
        <pc:spChg chg="add mod ord">
          <ac:chgData name="Trauer" userId="aa8b9dc3-a64d-4cc6-bd4f-f46eb5f096c9" providerId="ADAL" clId="{5B76CEF1-A6E3-49E3-8F70-F81E9495ECB4}" dt="2023-08-14T17:27:56.673" v="6610" actId="34135"/>
          <ac:spMkLst>
            <pc:docMk/>
            <pc:sldMk cId="868134689" sldId="560"/>
            <ac:spMk id="6" creationId="{DB47DC5C-ADD7-5CA2-57D3-858036F46471}"/>
          </ac:spMkLst>
        </pc:spChg>
        <pc:spChg chg="add mod ord">
          <ac:chgData name="Trauer" userId="aa8b9dc3-a64d-4cc6-bd4f-f46eb5f096c9" providerId="ADAL" clId="{5B76CEF1-A6E3-49E3-8F70-F81E9495ECB4}" dt="2023-08-14T17:27:56.673" v="6610" actId="34135"/>
          <ac:spMkLst>
            <pc:docMk/>
            <pc:sldMk cId="868134689" sldId="560"/>
            <ac:spMk id="7" creationId="{C345D719-74CB-FC2B-B220-41F43A3B3CB4}"/>
          </ac:spMkLst>
        </pc:spChg>
        <pc:spChg chg="add mod ord">
          <ac:chgData name="Trauer" userId="aa8b9dc3-a64d-4cc6-bd4f-f46eb5f096c9" providerId="ADAL" clId="{5B76CEF1-A6E3-49E3-8F70-F81E9495ECB4}" dt="2023-08-14T17:27:56.673" v="6610" actId="34135"/>
          <ac:spMkLst>
            <pc:docMk/>
            <pc:sldMk cId="868134689" sldId="560"/>
            <ac:spMk id="8" creationId="{9C9E7CB3-9025-0A93-6A05-43C5F486F220}"/>
          </ac:spMkLst>
        </pc:spChg>
        <pc:spChg chg="add mod ord">
          <ac:chgData name="Trauer" userId="aa8b9dc3-a64d-4cc6-bd4f-f46eb5f096c9" providerId="ADAL" clId="{5B76CEF1-A6E3-49E3-8F70-F81E9495ECB4}" dt="2023-08-14T17:27:56.673" v="6610" actId="34135"/>
          <ac:spMkLst>
            <pc:docMk/>
            <pc:sldMk cId="868134689" sldId="560"/>
            <ac:spMk id="9" creationId="{0CC3794E-BF7A-5BC9-0FB0-12E53998DA3A}"/>
          </ac:spMkLst>
        </pc:spChg>
        <pc:spChg chg="add mod ord">
          <ac:chgData name="Trauer" userId="aa8b9dc3-a64d-4cc6-bd4f-f46eb5f096c9" providerId="ADAL" clId="{5B76CEF1-A6E3-49E3-8F70-F81E9495ECB4}" dt="2023-08-14T17:27:56.673" v="6610" actId="34135"/>
          <ac:spMkLst>
            <pc:docMk/>
            <pc:sldMk cId="868134689" sldId="560"/>
            <ac:spMk id="10" creationId="{3C7D1CC8-00C2-714F-4B6D-245632DA8015}"/>
          </ac:spMkLst>
        </pc:spChg>
        <pc:spChg chg="add mod ord">
          <ac:chgData name="Trauer" userId="aa8b9dc3-a64d-4cc6-bd4f-f46eb5f096c9" providerId="ADAL" clId="{5B76CEF1-A6E3-49E3-8F70-F81E9495ECB4}" dt="2023-08-14T17:27:56.673" v="6610" actId="34135"/>
          <ac:spMkLst>
            <pc:docMk/>
            <pc:sldMk cId="868134689" sldId="560"/>
            <ac:spMk id="11" creationId="{900D34B4-647F-219A-C39A-1284DD8B0AA6}"/>
          </ac:spMkLst>
        </pc:spChg>
        <pc:spChg chg="add mod">
          <ac:chgData name="Trauer" userId="aa8b9dc3-a64d-4cc6-bd4f-f46eb5f096c9" providerId="ADAL" clId="{5B76CEF1-A6E3-49E3-8F70-F81E9495ECB4}" dt="2023-08-14T17:27:56.673" v="6610" actId="34135"/>
          <ac:spMkLst>
            <pc:docMk/>
            <pc:sldMk cId="868134689" sldId="560"/>
            <ac:spMk id="12" creationId="{F1FCAB31-6531-7B49-A9C2-5E832A45BA2D}"/>
          </ac:spMkLst>
        </pc:spChg>
        <pc:spChg chg="add mod">
          <ac:chgData name="Trauer" userId="aa8b9dc3-a64d-4cc6-bd4f-f46eb5f096c9" providerId="ADAL" clId="{5B76CEF1-A6E3-49E3-8F70-F81E9495ECB4}" dt="2023-08-14T16:19:51.028" v="3185"/>
          <ac:spMkLst>
            <pc:docMk/>
            <pc:sldMk cId="868134689" sldId="560"/>
            <ac:spMk id="13" creationId="{DD6F4236-24A7-4683-6198-85633B22CAC3}"/>
          </ac:spMkLst>
        </pc:spChg>
      </pc:sldChg>
      <pc:sldChg chg="new del">
        <pc:chgData name="Trauer" userId="aa8b9dc3-a64d-4cc6-bd4f-f46eb5f096c9" providerId="ADAL" clId="{5B76CEF1-A6E3-49E3-8F70-F81E9495ECB4}" dt="2023-08-14T16:09:24.290" v="2766" actId="47"/>
        <pc:sldMkLst>
          <pc:docMk/>
          <pc:sldMk cId="2445257376" sldId="560"/>
        </pc:sldMkLst>
      </pc:sldChg>
      <pc:sldChg chg="new del">
        <pc:chgData name="Trauer" userId="aa8b9dc3-a64d-4cc6-bd4f-f46eb5f096c9" providerId="ADAL" clId="{5B76CEF1-A6E3-49E3-8F70-F81E9495ECB4}" dt="2023-08-14T16:09:24.290" v="2766" actId="47"/>
        <pc:sldMkLst>
          <pc:docMk/>
          <pc:sldMk cId="3145775721" sldId="561"/>
        </pc:sldMkLst>
      </pc:sldChg>
      <pc:sldChg chg="addSp delSp modSp new mod modTransition">
        <pc:chgData name="Trauer" userId="aa8b9dc3-a64d-4cc6-bd4f-f46eb5f096c9" providerId="ADAL" clId="{5B76CEF1-A6E3-49E3-8F70-F81E9495ECB4}" dt="2023-08-14T17:28:15.735" v="6612" actId="34135"/>
        <pc:sldMkLst>
          <pc:docMk/>
          <pc:sldMk cId="3742937504" sldId="561"/>
        </pc:sldMkLst>
        <pc:spChg chg="mod">
          <ac:chgData name="Trauer" userId="aa8b9dc3-a64d-4cc6-bd4f-f46eb5f096c9" providerId="ADAL" clId="{5B76CEF1-A6E3-49E3-8F70-F81E9495ECB4}" dt="2023-08-14T16:12:36.785" v="2969" actId="20577"/>
          <ac:spMkLst>
            <pc:docMk/>
            <pc:sldMk cId="3742937504" sldId="561"/>
            <ac:spMk id="2" creationId="{7964B97E-7ED5-6C3E-9F2A-206095DC7717}"/>
          </ac:spMkLst>
        </pc:spChg>
        <pc:spChg chg="add mod">
          <ac:chgData name="Trauer" userId="aa8b9dc3-a64d-4cc6-bd4f-f46eb5f096c9" providerId="ADAL" clId="{5B76CEF1-A6E3-49E3-8F70-F81E9495ECB4}" dt="2023-08-14T17:28:15.735" v="6612" actId="34135"/>
          <ac:spMkLst>
            <pc:docMk/>
            <pc:sldMk cId="3742937504" sldId="561"/>
            <ac:spMk id="3" creationId="{692C7595-FE7B-6089-525B-06C1DB18FE21}"/>
          </ac:spMkLst>
        </pc:spChg>
        <pc:spChg chg="add mod ord">
          <ac:chgData name="Trauer" userId="aa8b9dc3-a64d-4cc6-bd4f-f46eb5f096c9" providerId="ADAL" clId="{5B76CEF1-A6E3-49E3-8F70-F81E9495ECB4}" dt="2023-08-14T17:28:15.735" v="6612" actId="34135"/>
          <ac:spMkLst>
            <pc:docMk/>
            <pc:sldMk cId="3742937504" sldId="561"/>
            <ac:spMk id="4" creationId="{9C138168-D7DC-61B8-4A89-FD43D62DE21B}"/>
          </ac:spMkLst>
        </pc:spChg>
        <pc:spChg chg="add mod ord">
          <ac:chgData name="Trauer" userId="aa8b9dc3-a64d-4cc6-bd4f-f46eb5f096c9" providerId="ADAL" clId="{5B76CEF1-A6E3-49E3-8F70-F81E9495ECB4}" dt="2023-08-14T17:28:15.735" v="6612" actId="34135"/>
          <ac:spMkLst>
            <pc:docMk/>
            <pc:sldMk cId="3742937504" sldId="561"/>
            <ac:spMk id="5" creationId="{F0B2E3F2-9383-E8CA-7EAD-0A80573EFA7C}"/>
          </ac:spMkLst>
        </pc:spChg>
        <pc:spChg chg="add mod ord">
          <ac:chgData name="Trauer" userId="aa8b9dc3-a64d-4cc6-bd4f-f46eb5f096c9" providerId="ADAL" clId="{5B76CEF1-A6E3-49E3-8F70-F81E9495ECB4}" dt="2023-08-14T17:28:15.735" v="6612" actId="34135"/>
          <ac:spMkLst>
            <pc:docMk/>
            <pc:sldMk cId="3742937504" sldId="561"/>
            <ac:spMk id="6" creationId="{5C38BB9E-2935-2E4F-03E0-F33744DB1B02}"/>
          </ac:spMkLst>
        </pc:spChg>
        <pc:spChg chg="add mod ord">
          <ac:chgData name="Trauer" userId="aa8b9dc3-a64d-4cc6-bd4f-f46eb5f096c9" providerId="ADAL" clId="{5B76CEF1-A6E3-49E3-8F70-F81E9495ECB4}" dt="2023-08-14T17:28:15.735" v="6612" actId="34135"/>
          <ac:spMkLst>
            <pc:docMk/>
            <pc:sldMk cId="3742937504" sldId="561"/>
            <ac:spMk id="7" creationId="{91E486BB-9276-4665-AA82-19205FC4DA68}"/>
          </ac:spMkLst>
        </pc:spChg>
        <pc:spChg chg="add mod ord">
          <ac:chgData name="Trauer" userId="aa8b9dc3-a64d-4cc6-bd4f-f46eb5f096c9" providerId="ADAL" clId="{5B76CEF1-A6E3-49E3-8F70-F81E9495ECB4}" dt="2023-08-14T17:28:15.735" v="6612" actId="34135"/>
          <ac:spMkLst>
            <pc:docMk/>
            <pc:sldMk cId="3742937504" sldId="561"/>
            <ac:spMk id="8" creationId="{8E2AEEB9-5DBF-29B9-281C-D553EC346A83}"/>
          </ac:spMkLst>
        </pc:spChg>
        <pc:spChg chg="add mod ord">
          <ac:chgData name="Trauer" userId="aa8b9dc3-a64d-4cc6-bd4f-f46eb5f096c9" providerId="ADAL" clId="{5B76CEF1-A6E3-49E3-8F70-F81E9495ECB4}" dt="2023-08-14T17:28:15.735" v="6612" actId="34135"/>
          <ac:spMkLst>
            <pc:docMk/>
            <pc:sldMk cId="3742937504" sldId="561"/>
            <ac:spMk id="9" creationId="{186573F9-8D20-84B1-2114-A3C69D1BF0FB}"/>
          </ac:spMkLst>
        </pc:spChg>
        <pc:spChg chg="add mod ord">
          <ac:chgData name="Trauer" userId="aa8b9dc3-a64d-4cc6-bd4f-f46eb5f096c9" providerId="ADAL" clId="{5B76CEF1-A6E3-49E3-8F70-F81E9495ECB4}" dt="2023-08-14T17:28:15.735" v="6612" actId="34135"/>
          <ac:spMkLst>
            <pc:docMk/>
            <pc:sldMk cId="3742937504" sldId="561"/>
            <ac:spMk id="10" creationId="{EE71638D-70AB-1491-9AE3-11C129EEFDEF}"/>
          </ac:spMkLst>
        </pc:spChg>
        <pc:spChg chg="add mod ord">
          <ac:chgData name="Trauer" userId="aa8b9dc3-a64d-4cc6-bd4f-f46eb5f096c9" providerId="ADAL" clId="{5B76CEF1-A6E3-49E3-8F70-F81E9495ECB4}" dt="2023-08-14T17:28:15.735" v="6612" actId="34135"/>
          <ac:spMkLst>
            <pc:docMk/>
            <pc:sldMk cId="3742937504" sldId="561"/>
            <ac:spMk id="11" creationId="{479E1090-9AEF-0DD3-A3CA-72C88167F450}"/>
          </ac:spMkLst>
        </pc:spChg>
        <pc:spChg chg="add mod">
          <ac:chgData name="Trauer" userId="aa8b9dc3-a64d-4cc6-bd4f-f46eb5f096c9" providerId="ADAL" clId="{5B76CEF1-A6E3-49E3-8F70-F81E9495ECB4}" dt="2023-08-14T17:28:15.735" v="6612" actId="34135"/>
          <ac:spMkLst>
            <pc:docMk/>
            <pc:sldMk cId="3742937504" sldId="561"/>
            <ac:spMk id="12" creationId="{B66439BD-A783-9BC7-99EF-5913B8F32790}"/>
          </ac:spMkLst>
        </pc:spChg>
        <pc:spChg chg="add mod">
          <ac:chgData name="Trauer" userId="aa8b9dc3-a64d-4cc6-bd4f-f46eb5f096c9" providerId="ADAL" clId="{5B76CEF1-A6E3-49E3-8F70-F81E9495ECB4}" dt="2023-08-14T16:19:53.163" v="3187"/>
          <ac:spMkLst>
            <pc:docMk/>
            <pc:sldMk cId="3742937504" sldId="561"/>
            <ac:spMk id="13" creationId="{21119C48-F2A2-26C0-791A-5CBE3AE57267}"/>
          </ac:spMkLst>
        </pc:spChg>
        <pc:spChg chg="add mod topLvl">
          <ac:chgData name="Trauer" userId="aa8b9dc3-a64d-4cc6-bd4f-f46eb5f096c9" providerId="ADAL" clId="{5B76CEF1-A6E3-49E3-8F70-F81E9495ECB4}" dt="2023-08-14T17:06:22.117" v="6074"/>
          <ac:spMkLst>
            <pc:docMk/>
            <pc:sldMk cId="3742937504" sldId="561"/>
            <ac:spMk id="14" creationId="{43795825-7EA2-1E3F-8A96-24B46C0F2CBC}"/>
          </ac:spMkLst>
        </pc:spChg>
        <pc:spChg chg="add mod topLvl replST">
          <ac:chgData name="Trauer" userId="aa8b9dc3-a64d-4cc6-bd4f-f46eb5f096c9" providerId="ADAL" clId="{5B76CEF1-A6E3-49E3-8F70-F81E9495ECB4}" dt="2023-08-14T17:06:22.117" v="6074"/>
          <ac:spMkLst>
            <pc:docMk/>
            <pc:sldMk cId="3742937504" sldId="561"/>
            <ac:spMk id="15" creationId="{4D86D81D-74BC-194A-4733-C58719BCD4A0}"/>
          </ac:spMkLst>
        </pc:spChg>
        <pc:spChg chg="add del mod modVis">
          <ac:chgData name="Trauer" userId="aa8b9dc3-a64d-4cc6-bd4f-f46eb5f096c9" providerId="ADAL" clId="{5B76CEF1-A6E3-49E3-8F70-F81E9495ECB4}" dt="2023-08-14T17:05:47.879" v="3507"/>
          <ac:spMkLst>
            <pc:docMk/>
            <pc:sldMk cId="3742937504" sldId="561"/>
            <ac:spMk id="17" creationId="{E8EE4AD8-BD93-27A2-3C7F-7286FE762DF2}"/>
          </ac:spMkLst>
        </pc:spChg>
        <pc:spChg chg="add del mod modVis">
          <ac:chgData name="Trauer" userId="aa8b9dc3-a64d-4cc6-bd4f-f46eb5f096c9" providerId="ADAL" clId="{5B76CEF1-A6E3-49E3-8F70-F81E9495ECB4}" dt="2023-08-14T17:05:47.360" v="3458"/>
          <ac:spMkLst>
            <pc:docMk/>
            <pc:sldMk cId="3742937504" sldId="561"/>
            <ac:spMk id="19" creationId="{C7B93663-4C1A-4AAD-F7CD-A907390C96CA}"/>
          </ac:spMkLst>
        </pc:spChg>
        <pc:spChg chg="add del mod">
          <ac:chgData name="Trauer" userId="aa8b9dc3-a64d-4cc6-bd4f-f46eb5f096c9" providerId="ADAL" clId="{5B76CEF1-A6E3-49E3-8F70-F81E9495ECB4}" dt="2023-08-14T17:05:48.083" v="3686"/>
          <ac:spMkLst>
            <pc:docMk/>
            <pc:sldMk cId="3742937504" sldId="561"/>
            <ac:spMk id="20" creationId="{47282ADE-162A-25EA-2F2E-3E4BC7CBA7F1}"/>
          </ac:spMkLst>
        </pc:spChg>
        <pc:spChg chg="add del mod modVis">
          <ac:chgData name="Trauer" userId="aa8b9dc3-a64d-4cc6-bd4f-f46eb5f096c9" providerId="ADAL" clId="{5B76CEF1-A6E3-49E3-8F70-F81E9495ECB4}" dt="2023-08-14T17:05:47.834" v="3473"/>
          <ac:spMkLst>
            <pc:docMk/>
            <pc:sldMk cId="3742937504" sldId="561"/>
            <ac:spMk id="21" creationId="{96B5D545-DF10-50C9-34B7-C3F714F8E7EB}"/>
          </ac:spMkLst>
        </pc:spChg>
        <pc:spChg chg="add del mod">
          <ac:chgData name="Trauer" userId="aa8b9dc3-a64d-4cc6-bd4f-f46eb5f096c9" providerId="ADAL" clId="{5B76CEF1-A6E3-49E3-8F70-F81E9495ECB4}" dt="2023-08-14T17:05:48.082" v="3684"/>
          <ac:spMkLst>
            <pc:docMk/>
            <pc:sldMk cId="3742937504" sldId="561"/>
            <ac:spMk id="22" creationId="{4DFD13A6-68F6-B3C0-7CCB-9F5910220143}"/>
          </ac:spMkLst>
        </pc:spChg>
        <pc:spChg chg="add del mod modVis">
          <ac:chgData name="Trauer" userId="aa8b9dc3-a64d-4cc6-bd4f-f46eb5f096c9" providerId="ADAL" clId="{5B76CEF1-A6E3-49E3-8F70-F81E9495ECB4}" dt="2023-08-14T17:05:47.846" v="3486"/>
          <ac:spMkLst>
            <pc:docMk/>
            <pc:sldMk cId="3742937504" sldId="561"/>
            <ac:spMk id="23" creationId="{C599181E-5A8F-B897-04E2-C2F0BB024D1B}"/>
          </ac:spMkLst>
        </pc:spChg>
        <pc:spChg chg="add del mod">
          <ac:chgData name="Trauer" userId="aa8b9dc3-a64d-4cc6-bd4f-f46eb5f096c9" providerId="ADAL" clId="{5B76CEF1-A6E3-49E3-8F70-F81E9495ECB4}" dt="2023-08-14T17:05:48.081" v="3682"/>
          <ac:spMkLst>
            <pc:docMk/>
            <pc:sldMk cId="3742937504" sldId="561"/>
            <ac:spMk id="24" creationId="{EC1FD64A-E209-25AE-50B8-737FB90F80D7}"/>
          </ac:spMkLst>
        </pc:spChg>
        <pc:spChg chg="add del mod modVis">
          <ac:chgData name="Trauer" userId="aa8b9dc3-a64d-4cc6-bd4f-f46eb5f096c9" providerId="ADAL" clId="{5B76CEF1-A6E3-49E3-8F70-F81E9495ECB4}" dt="2023-08-14T17:05:47.875" v="3501"/>
          <ac:spMkLst>
            <pc:docMk/>
            <pc:sldMk cId="3742937504" sldId="561"/>
            <ac:spMk id="25" creationId="{B86EA968-CBD0-02C9-6F90-2F3EA6875F5D}"/>
          </ac:spMkLst>
        </pc:spChg>
        <pc:spChg chg="add del mod modVis">
          <ac:chgData name="Trauer" userId="aa8b9dc3-a64d-4cc6-bd4f-f46eb5f096c9" providerId="ADAL" clId="{5B76CEF1-A6E3-49E3-8F70-F81E9495ECB4}" dt="2023-08-14T17:05:47.941" v="3582"/>
          <ac:spMkLst>
            <pc:docMk/>
            <pc:sldMk cId="3742937504" sldId="561"/>
            <ac:spMk id="26" creationId="{A2609D36-F584-B066-8505-C3DAB60D4D58}"/>
          </ac:spMkLst>
        </pc:spChg>
        <pc:spChg chg="add del mod modVis">
          <ac:chgData name="Trauer" userId="aa8b9dc3-a64d-4cc6-bd4f-f46eb5f096c9" providerId="ADAL" clId="{5B76CEF1-A6E3-49E3-8F70-F81E9495ECB4}" dt="2023-08-14T17:05:47.902" v="3533"/>
          <ac:spMkLst>
            <pc:docMk/>
            <pc:sldMk cId="3742937504" sldId="561"/>
            <ac:spMk id="28" creationId="{285C8B15-879C-F365-094B-60C728B74A09}"/>
          </ac:spMkLst>
        </pc:spChg>
        <pc:spChg chg="add del mod">
          <ac:chgData name="Trauer" userId="aa8b9dc3-a64d-4cc6-bd4f-f46eb5f096c9" providerId="ADAL" clId="{5B76CEF1-A6E3-49E3-8F70-F81E9495ECB4}" dt="2023-08-14T17:05:48.079" v="3680"/>
          <ac:spMkLst>
            <pc:docMk/>
            <pc:sldMk cId="3742937504" sldId="561"/>
            <ac:spMk id="29" creationId="{E935E638-BA27-4800-F320-D2F32D143677}"/>
          </ac:spMkLst>
        </pc:spChg>
        <pc:spChg chg="add del mod modVis">
          <ac:chgData name="Trauer" userId="aa8b9dc3-a64d-4cc6-bd4f-f46eb5f096c9" providerId="ADAL" clId="{5B76CEF1-A6E3-49E3-8F70-F81E9495ECB4}" dt="2023-08-14T17:05:47.914" v="3548"/>
          <ac:spMkLst>
            <pc:docMk/>
            <pc:sldMk cId="3742937504" sldId="561"/>
            <ac:spMk id="30" creationId="{C09D5034-3BB6-42D0-AC88-0BAB54601FF6}"/>
          </ac:spMkLst>
        </pc:spChg>
        <pc:spChg chg="add del mod">
          <ac:chgData name="Trauer" userId="aa8b9dc3-a64d-4cc6-bd4f-f46eb5f096c9" providerId="ADAL" clId="{5B76CEF1-A6E3-49E3-8F70-F81E9495ECB4}" dt="2023-08-14T17:05:48.078" v="3678"/>
          <ac:spMkLst>
            <pc:docMk/>
            <pc:sldMk cId="3742937504" sldId="561"/>
            <ac:spMk id="31" creationId="{D9D89A16-3380-2FD8-7791-603749880000}"/>
          </ac:spMkLst>
        </pc:spChg>
        <pc:spChg chg="add del mod modVis">
          <ac:chgData name="Trauer" userId="aa8b9dc3-a64d-4cc6-bd4f-f46eb5f096c9" providerId="ADAL" clId="{5B76CEF1-A6E3-49E3-8F70-F81E9495ECB4}" dt="2023-08-14T17:05:47.925" v="3561"/>
          <ac:spMkLst>
            <pc:docMk/>
            <pc:sldMk cId="3742937504" sldId="561"/>
            <ac:spMk id="32" creationId="{490B9B93-AD29-2976-DC4A-E0155F006241}"/>
          </ac:spMkLst>
        </pc:spChg>
        <pc:spChg chg="add del mod">
          <ac:chgData name="Trauer" userId="aa8b9dc3-a64d-4cc6-bd4f-f46eb5f096c9" providerId="ADAL" clId="{5B76CEF1-A6E3-49E3-8F70-F81E9495ECB4}" dt="2023-08-14T17:05:48.077" v="3676"/>
          <ac:spMkLst>
            <pc:docMk/>
            <pc:sldMk cId="3742937504" sldId="561"/>
            <ac:spMk id="33" creationId="{4900A983-65C0-CB38-58B8-E0F562501668}"/>
          </ac:spMkLst>
        </pc:spChg>
        <pc:spChg chg="add del mod modVis">
          <ac:chgData name="Trauer" userId="aa8b9dc3-a64d-4cc6-bd4f-f46eb5f096c9" providerId="ADAL" clId="{5B76CEF1-A6E3-49E3-8F70-F81E9495ECB4}" dt="2023-08-14T17:05:47.937" v="3576"/>
          <ac:spMkLst>
            <pc:docMk/>
            <pc:sldMk cId="3742937504" sldId="561"/>
            <ac:spMk id="34" creationId="{1C3562AA-7A62-26DA-DF64-12B8F4112122}"/>
          </ac:spMkLst>
        </pc:spChg>
        <pc:spChg chg="add del mod modVis">
          <ac:chgData name="Trauer" userId="aa8b9dc3-a64d-4cc6-bd4f-f46eb5f096c9" providerId="ADAL" clId="{5B76CEF1-A6E3-49E3-8F70-F81E9495ECB4}" dt="2023-08-14T17:05:48.003" v="3657"/>
          <ac:spMkLst>
            <pc:docMk/>
            <pc:sldMk cId="3742937504" sldId="561"/>
            <ac:spMk id="35" creationId="{D513394B-D510-B213-81A5-C87518F629C0}"/>
          </ac:spMkLst>
        </pc:spChg>
        <pc:spChg chg="add del mod modVis">
          <ac:chgData name="Trauer" userId="aa8b9dc3-a64d-4cc6-bd4f-f46eb5f096c9" providerId="ADAL" clId="{5B76CEF1-A6E3-49E3-8F70-F81E9495ECB4}" dt="2023-08-14T17:05:47.963" v="3608"/>
          <ac:spMkLst>
            <pc:docMk/>
            <pc:sldMk cId="3742937504" sldId="561"/>
            <ac:spMk id="37" creationId="{4F8D6053-5953-4CE9-9A50-BD54E92BABE8}"/>
          </ac:spMkLst>
        </pc:spChg>
        <pc:spChg chg="add del mod">
          <ac:chgData name="Trauer" userId="aa8b9dc3-a64d-4cc6-bd4f-f46eb5f096c9" providerId="ADAL" clId="{5B76CEF1-A6E3-49E3-8F70-F81E9495ECB4}" dt="2023-08-14T17:05:48.076" v="3674"/>
          <ac:spMkLst>
            <pc:docMk/>
            <pc:sldMk cId="3742937504" sldId="561"/>
            <ac:spMk id="38" creationId="{59F2514A-72BB-1797-8428-33C65CB28BEE}"/>
          </ac:spMkLst>
        </pc:spChg>
        <pc:spChg chg="add del mod modVis">
          <ac:chgData name="Trauer" userId="aa8b9dc3-a64d-4cc6-bd4f-f46eb5f096c9" providerId="ADAL" clId="{5B76CEF1-A6E3-49E3-8F70-F81E9495ECB4}" dt="2023-08-14T17:05:47.975" v="3623"/>
          <ac:spMkLst>
            <pc:docMk/>
            <pc:sldMk cId="3742937504" sldId="561"/>
            <ac:spMk id="39" creationId="{0DAF11A9-E868-A753-3117-499B7CEE8189}"/>
          </ac:spMkLst>
        </pc:spChg>
        <pc:spChg chg="add del mod">
          <ac:chgData name="Trauer" userId="aa8b9dc3-a64d-4cc6-bd4f-f46eb5f096c9" providerId="ADAL" clId="{5B76CEF1-A6E3-49E3-8F70-F81E9495ECB4}" dt="2023-08-14T17:05:48.074" v="3672"/>
          <ac:spMkLst>
            <pc:docMk/>
            <pc:sldMk cId="3742937504" sldId="561"/>
            <ac:spMk id="40" creationId="{1241BF20-9962-D438-40F3-3577AA32BF55}"/>
          </ac:spMkLst>
        </pc:spChg>
        <pc:spChg chg="add del mod modVis">
          <ac:chgData name="Trauer" userId="aa8b9dc3-a64d-4cc6-bd4f-f46eb5f096c9" providerId="ADAL" clId="{5B76CEF1-A6E3-49E3-8F70-F81E9495ECB4}" dt="2023-08-14T17:05:47.986" v="3636"/>
          <ac:spMkLst>
            <pc:docMk/>
            <pc:sldMk cId="3742937504" sldId="561"/>
            <ac:spMk id="41" creationId="{995340C6-A801-9842-727E-602A381ACCF4}"/>
          </ac:spMkLst>
        </pc:spChg>
        <pc:spChg chg="add del mod">
          <ac:chgData name="Trauer" userId="aa8b9dc3-a64d-4cc6-bd4f-f46eb5f096c9" providerId="ADAL" clId="{5B76CEF1-A6E3-49E3-8F70-F81E9495ECB4}" dt="2023-08-14T17:05:48.072" v="3670"/>
          <ac:spMkLst>
            <pc:docMk/>
            <pc:sldMk cId="3742937504" sldId="561"/>
            <ac:spMk id="42" creationId="{BF0BC536-FC44-55D2-12E8-BA37FC214AD8}"/>
          </ac:spMkLst>
        </pc:spChg>
        <pc:spChg chg="add del mod modVis">
          <ac:chgData name="Trauer" userId="aa8b9dc3-a64d-4cc6-bd4f-f46eb5f096c9" providerId="ADAL" clId="{5B76CEF1-A6E3-49E3-8F70-F81E9495ECB4}" dt="2023-08-14T17:05:47.999" v="3651"/>
          <ac:spMkLst>
            <pc:docMk/>
            <pc:sldMk cId="3742937504" sldId="561"/>
            <ac:spMk id="43" creationId="{E74DD361-7CEC-1798-9B5D-D3FA08F2857A}"/>
          </ac:spMkLst>
        </pc:spChg>
        <pc:spChg chg="add del mod modVis">
          <ac:chgData name="Trauer" userId="aa8b9dc3-a64d-4cc6-bd4f-f46eb5f096c9" providerId="ADAL" clId="{5B76CEF1-A6E3-49E3-8F70-F81E9495ECB4}" dt="2023-08-14T17:05:49.944" v="5052"/>
          <ac:spMkLst>
            <pc:docMk/>
            <pc:sldMk cId="3742937504" sldId="561"/>
            <ac:spMk id="45" creationId="{7E523D4D-1D1D-1D7B-B9FF-4F5EAE44BC8F}"/>
          </ac:spMkLst>
        </pc:spChg>
        <pc:spChg chg="add mod topLvl">
          <ac:chgData name="Trauer" userId="aa8b9dc3-a64d-4cc6-bd4f-f46eb5f096c9" providerId="ADAL" clId="{5B76CEF1-A6E3-49E3-8F70-F81E9495ECB4}" dt="2023-08-14T17:06:22.117" v="6074"/>
          <ac:spMkLst>
            <pc:docMk/>
            <pc:sldMk cId="3742937504" sldId="561"/>
            <ac:spMk id="47" creationId="{BDB5EF59-73F3-2C32-536B-454FE15C6FC8}"/>
          </ac:spMkLst>
        </pc:spChg>
        <pc:spChg chg="add mod topLvl">
          <ac:chgData name="Trauer" userId="aa8b9dc3-a64d-4cc6-bd4f-f46eb5f096c9" providerId="ADAL" clId="{5B76CEF1-A6E3-49E3-8F70-F81E9495ECB4}" dt="2023-08-14T17:06:22.117" v="6074"/>
          <ac:spMkLst>
            <pc:docMk/>
            <pc:sldMk cId="3742937504" sldId="561"/>
            <ac:spMk id="48" creationId="{E1A17D8A-1A99-1ADE-3491-32D7A35B0058}"/>
          </ac:spMkLst>
        </pc:spChg>
        <pc:spChg chg="add mod topLvl">
          <ac:chgData name="Trauer" userId="aa8b9dc3-a64d-4cc6-bd4f-f46eb5f096c9" providerId="ADAL" clId="{5B76CEF1-A6E3-49E3-8F70-F81E9495ECB4}" dt="2023-08-14T17:06:22.117" v="6074"/>
          <ac:spMkLst>
            <pc:docMk/>
            <pc:sldMk cId="3742937504" sldId="561"/>
            <ac:spMk id="49" creationId="{C6439ED0-15F3-0029-FAD3-33046F95943A}"/>
          </ac:spMkLst>
        </pc:spChg>
        <pc:spChg chg="add del mod modVis">
          <ac:chgData name="Trauer" userId="aa8b9dc3-a64d-4cc6-bd4f-f46eb5f096c9" providerId="ADAL" clId="{5B76CEF1-A6E3-49E3-8F70-F81E9495ECB4}" dt="2023-08-14T17:05:48.177" v="3749"/>
          <ac:spMkLst>
            <pc:docMk/>
            <pc:sldMk cId="3742937504" sldId="561"/>
            <ac:spMk id="50" creationId="{DFDCE5DA-F079-2278-A351-9E3D97628306}"/>
          </ac:spMkLst>
        </pc:spChg>
        <pc:spChg chg="add mod topLvl">
          <ac:chgData name="Trauer" userId="aa8b9dc3-a64d-4cc6-bd4f-f46eb5f096c9" providerId="ADAL" clId="{5B76CEF1-A6E3-49E3-8F70-F81E9495ECB4}" dt="2023-08-14T17:06:22.117" v="6074"/>
          <ac:spMkLst>
            <pc:docMk/>
            <pc:sldMk cId="3742937504" sldId="561"/>
            <ac:spMk id="51" creationId="{680073B3-36DD-06A8-CFCE-A461145B9642}"/>
          </ac:spMkLst>
        </pc:spChg>
        <pc:spChg chg="add mod topLvl">
          <ac:chgData name="Trauer" userId="aa8b9dc3-a64d-4cc6-bd4f-f46eb5f096c9" providerId="ADAL" clId="{5B76CEF1-A6E3-49E3-8F70-F81E9495ECB4}" dt="2023-08-14T17:06:22.117" v="6074"/>
          <ac:spMkLst>
            <pc:docMk/>
            <pc:sldMk cId="3742937504" sldId="561"/>
            <ac:spMk id="52" creationId="{21AA4541-F568-EDFF-51A7-20BE762E5AB5}"/>
          </ac:spMkLst>
        </pc:spChg>
        <pc:spChg chg="add mod topLvl">
          <ac:chgData name="Trauer" userId="aa8b9dc3-a64d-4cc6-bd4f-f46eb5f096c9" providerId="ADAL" clId="{5B76CEF1-A6E3-49E3-8F70-F81E9495ECB4}" dt="2023-08-14T17:06:22.117" v="6074"/>
          <ac:spMkLst>
            <pc:docMk/>
            <pc:sldMk cId="3742937504" sldId="561"/>
            <ac:spMk id="53" creationId="{E4CB3A63-6391-8B07-C4E8-AFA57D9D74B5}"/>
          </ac:spMkLst>
        </pc:spChg>
        <pc:spChg chg="add del mod modVis">
          <ac:chgData name="Trauer" userId="aa8b9dc3-a64d-4cc6-bd4f-f46eb5f096c9" providerId="ADAL" clId="{5B76CEF1-A6E3-49E3-8F70-F81E9495ECB4}" dt="2023-08-14T17:05:48.210" v="3774"/>
          <ac:spMkLst>
            <pc:docMk/>
            <pc:sldMk cId="3742937504" sldId="561"/>
            <ac:spMk id="54" creationId="{1E45D7E6-937F-8769-3B2E-5AB2C61EF1DA}"/>
          </ac:spMkLst>
        </pc:spChg>
        <pc:spChg chg="add mod topLvl">
          <ac:chgData name="Trauer" userId="aa8b9dc3-a64d-4cc6-bd4f-f46eb5f096c9" providerId="ADAL" clId="{5B76CEF1-A6E3-49E3-8F70-F81E9495ECB4}" dt="2023-08-14T17:06:22.117" v="6074"/>
          <ac:spMkLst>
            <pc:docMk/>
            <pc:sldMk cId="3742937504" sldId="561"/>
            <ac:spMk id="55" creationId="{0B41BC64-5B2C-FACD-FE2B-E78DBBE32E18}"/>
          </ac:spMkLst>
        </pc:spChg>
        <pc:spChg chg="add mod topLvl">
          <ac:chgData name="Trauer" userId="aa8b9dc3-a64d-4cc6-bd4f-f46eb5f096c9" providerId="ADAL" clId="{5B76CEF1-A6E3-49E3-8F70-F81E9495ECB4}" dt="2023-08-14T17:06:22.117" v="6074"/>
          <ac:spMkLst>
            <pc:docMk/>
            <pc:sldMk cId="3742937504" sldId="561"/>
            <ac:spMk id="56" creationId="{96D9C1A0-120E-2520-FA1E-C7C82B35805D}"/>
          </ac:spMkLst>
        </pc:spChg>
        <pc:spChg chg="add mod topLvl">
          <ac:chgData name="Trauer" userId="aa8b9dc3-a64d-4cc6-bd4f-f46eb5f096c9" providerId="ADAL" clId="{5B76CEF1-A6E3-49E3-8F70-F81E9495ECB4}" dt="2023-08-14T17:06:22.117" v="6074"/>
          <ac:spMkLst>
            <pc:docMk/>
            <pc:sldMk cId="3742937504" sldId="561"/>
            <ac:spMk id="57" creationId="{EE43E64C-7B04-0953-524A-1C1AA6E8F22C}"/>
          </ac:spMkLst>
        </pc:spChg>
        <pc:spChg chg="add del mod modVis">
          <ac:chgData name="Trauer" userId="aa8b9dc3-a64d-4cc6-bd4f-f46eb5f096c9" providerId="ADAL" clId="{5B76CEF1-A6E3-49E3-8F70-F81E9495ECB4}" dt="2023-08-14T17:05:48.230" v="3793"/>
          <ac:spMkLst>
            <pc:docMk/>
            <pc:sldMk cId="3742937504" sldId="561"/>
            <ac:spMk id="58" creationId="{CBA4BFE0-E6B5-B00D-E8A2-7819F8915C7C}"/>
          </ac:spMkLst>
        </pc:spChg>
        <pc:spChg chg="add mod topLvl">
          <ac:chgData name="Trauer" userId="aa8b9dc3-a64d-4cc6-bd4f-f46eb5f096c9" providerId="ADAL" clId="{5B76CEF1-A6E3-49E3-8F70-F81E9495ECB4}" dt="2023-08-14T17:06:22.117" v="6074"/>
          <ac:spMkLst>
            <pc:docMk/>
            <pc:sldMk cId="3742937504" sldId="561"/>
            <ac:spMk id="59" creationId="{C51845FD-A6A3-E2D7-C266-8417F77FECF8}"/>
          </ac:spMkLst>
        </pc:spChg>
        <pc:spChg chg="add mod topLvl">
          <ac:chgData name="Trauer" userId="aa8b9dc3-a64d-4cc6-bd4f-f46eb5f096c9" providerId="ADAL" clId="{5B76CEF1-A6E3-49E3-8F70-F81E9495ECB4}" dt="2023-08-14T17:06:22.117" v="6074"/>
          <ac:spMkLst>
            <pc:docMk/>
            <pc:sldMk cId="3742937504" sldId="561"/>
            <ac:spMk id="60" creationId="{F4CEC74A-CFC8-54B8-D3F4-0A71F03D4A88}"/>
          </ac:spMkLst>
        </pc:spChg>
        <pc:spChg chg="add mod topLvl">
          <ac:chgData name="Trauer" userId="aa8b9dc3-a64d-4cc6-bd4f-f46eb5f096c9" providerId="ADAL" clId="{5B76CEF1-A6E3-49E3-8F70-F81E9495ECB4}" dt="2023-08-14T17:06:22.117" v="6074"/>
          <ac:spMkLst>
            <pc:docMk/>
            <pc:sldMk cId="3742937504" sldId="561"/>
            <ac:spMk id="61" creationId="{A12B5EBA-6A02-AD78-1A4D-6CCCB1EB1442}"/>
          </ac:spMkLst>
        </pc:spChg>
        <pc:spChg chg="add del mod modVis">
          <ac:chgData name="Trauer" userId="aa8b9dc3-a64d-4cc6-bd4f-f46eb5f096c9" providerId="ADAL" clId="{5B76CEF1-A6E3-49E3-8F70-F81E9495ECB4}" dt="2023-08-14T17:05:48.264" v="3818"/>
          <ac:spMkLst>
            <pc:docMk/>
            <pc:sldMk cId="3742937504" sldId="561"/>
            <ac:spMk id="62" creationId="{EE12F17C-ABB4-325A-A98B-F2283BFF5011}"/>
          </ac:spMkLst>
        </pc:spChg>
        <pc:spChg chg="add del mod">
          <ac:chgData name="Trauer" userId="aa8b9dc3-a64d-4cc6-bd4f-f46eb5f096c9" providerId="ADAL" clId="{5B76CEF1-A6E3-49E3-8F70-F81E9495ECB4}" dt="2023-08-14T17:05:48.340" v="3881"/>
          <ac:spMkLst>
            <pc:docMk/>
            <pc:sldMk cId="3742937504" sldId="561"/>
            <ac:spMk id="63" creationId="{5A269565-716C-0C26-9184-507BC67012FF}"/>
          </ac:spMkLst>
        </pc:spChg>
        <pc:spChg chg="add del mod">
          <ac:chgData name="Trauer" userId="aa8b9dc3-a64d-4cc6-bd4f-f46eb5f096c9" providerId="ADAL" clId="{5B76CEF1-A6E3-49E3-8F70-F81E9495ECB4}" dt="2023-08-14T17:05:48.367" v="3899"/>
          <ac:spMkLst>
            <pc:docMk/>
            <pc:sldMk cId="3742937504" sldId="561"/>
            <ac:spMk id="64" creationId="{68D5BC6A-E06D-C614-E3FB-B59CAC7567B1}"/>
          </ac:spMkLst>
        </pc:spChg>
        <pc:spChg chg="add del mod">
          <ac:chgData name="Trauer" userId="aa8b9dc3-a64d-4cc6-bd4f-f46eb5f096c9" providerId="ADAL" clId="{5B76CEF1-A6E3-49E3-8F70-F81E9495ECB4}" dt="2023-08-14T17:05:48.405" v="3921"/>
          <ac:spMkLst>
            <pc:docMk/>
            <pc:sldMk cId="3742937504" sldId="561"/>
            <ac:spMk id="65" creationId="{FAFC6195-1BAB-0BBA-A1B2-F1719F5BA271}"/>
          </ac:spMkLst>
        </pc:spChg>
        <pc:spChg chg="add del mod modVis">
          <ac:chgData name="Trauer" userId="aa8b9dc3-a64d-4cc6-bd4f-f46eb5f096c9" providerId="ADAL" clId="{5B76CEF1-A6E3-49E3-8F70-F81E9495ECB4}" dt="2023-08-14T17:05:48.434" v="3936"/>
          <ac:spMkLst>
            <pc:docMk/>
            <pc:sldMk cId="3742937504" sldId="561"/>
            <ac:spMk id="66" creationId="{FBD5B01E-0AB8-C0AA-02C5-6FFDDEFB88D2}"/>
          </ac:spMkLst>
        </pc:spChg>
        <pc:spChg chg="add mod ord topLvl">
          <ac:chgData name="Trauer" userId="aa8b9dc3-a64d-4cc6-bd4f-f46eb5f096c9" providerId="ADAL" clId="{5B76CEF1-A6E3-49E3-8F70-F81E9495ECB4}" dt="2023-08-14T17:06:22.486" v="6309"/>
          <ac:spMkLst>
            <pc:docMk/>
            <pc:sldMk cId="3742937504" sldId="561"/>
            <ac:spMk id="67" creationId="{47628D1A-071F-F309-81BD-2FBEF6C60A2B}"/>
          </ac:spMkLst>
        </pc:spChg>
        <pc:spChg chg="add del mod modVis">
          <ac:chgData name="Trauer" userId="aa8b9dc3-a64d-4cc6-bd4f-f46eb5f096c9" providerId="ADAL" clId="{5B76CEF1-A6E3-49E3-8F70-F81E9495ECB4}" dt="2023-08-14T17:05:48.457" v="3947"/>
          <ac:spMkLst>
            <pc:docMk/>
            <pc:sldMk cId="3742937504" sldId="561"/>
            <ac:spMk id="68" creationId="{F9008682-9EB4-A0F5-2245-3A2BBD2DC559}"/>
          </ac:spMkLst>
        </pc:spChg>
        <pc:spChg chg="add mod ord topLvl">
          <ac:chgData name="Trauer" userId="aa8b9dc3-a64d-4cc6-bd4f-f46eb5f096c9" providerId="ADAL" clId="{5B76CEF1-A6E3-49E3-8F70-F81E9495ECB4}" dt="2023-08-14T17:06:22.485" v="6307"/>
          <ac:spMkLst>
            <pc:docMk/>
            <pc:sldMk cId="3742937504" sldId="561"/>
            <ac:spMk id="69" creationId="{35C3C376-E5A4-8651-A4AA-2E9AACD70505}"/>
          </ac:spMkLst>
        </pc:spChg>
        <pc:spChg chg="add mod ord topLvl">
          <ac:chgData name="Trauer" userId="aa8b9dc3-a64d-4cc6-bd4f-f46eb5f096c9" providerId="ADAL" clId="{5B76CEF1-A6E3-49E3-8F70-F81E9495ECB4}" dt="2023-08-14T17:06:22.484" v="6305"/>
          <ac:spMkLst>
            <pc:docMk/>
            <pc:sldMk cId="3742937504" sldId="561"/>
            <ac:spMk id="70" creationId="{3281C6B5-2BFC-A20A-77C8-7F5B4CDA3495}"/>
          </ac:spMkLst>
        </pc:spChg>
        <pc:spChg chg="add del mod modVis">
          <ac:chgData name="Trauer" userId="aa8b9dc3-a64d-4cc6-bd4f-f46eb5f096c9" providerId="ADAL" clId="{5B76CEF1-A6E3-49E3-8F70-F81E9495ECB4}" dt="2023-08-14T17:05:48.480" v="3962"/>
          <ac:spMkLst>
            <pc:docMk/>
            <pc:sldMk cId="3742937504" sldId="561"/>
            <ac:spMk id="71" creationId="{895E05F8-83C4-B47E-791C-38A22FC951D6}"/>
          </ac:spMkLst>
        </pc:spChg>
        <pc:spChg chg="add mod ord topLvl">
          <ac:chgData name="Trauer" userId="aa8b9dc3-a64d-4cc6-bd4f-f46eb5f096c9" providerId="ADAL" clId="{5B76CEF1-A6E3-49E3-8F70-F81E9495ECB4}" dt="2023-08-14T17:06:22.483" v="6303"/>
          <ac:spMkLst>
            <pc:docMk/>
            <pc:sldMk cId="3742937504" sldId="561"/>
            <ac:spMk id="72" creationId="{2222289E-C68B-3B52-D64F-3CD5D2F8A5B9}"/>
          </ac:spMkLst>
        </pc:spChg>
        <pc:spChg chg="add mod ord topLvl">
          <ac:chgData name="Trauer" userId="aa8b9dc3-a64d-4cc6-bd4f-f46eb5f096c9" providerId="ADAL" clId="{5B76CEF1-A6E3-49E3-8F70-F81E9495ECB4}" dt="2023-08-14T17:06:22.481" v="6301"/>
          <ac:spMkLst>
            <pc:docMk/>
            <pc:sldMk cId="3742937504" sldId="561"/>
            <ac:spMk id="73" creationId="{AC7FF526-9045-D2B3-9D5B-85AF854EE516}"/>
          </ac:spMkLst>
        </pc:spChg>
        <pc:spChg chg="add mod ord topLvl">
          <ac:chgData name="Trauer" userId="aa8b9dc3-a64d-4cc6-bd4f-f46eb5f096c9" providerId="ADAL" clId="{5B76CEF1-A6E3-49E3-8F70-F81E9495ECB4}" dt="2023-08-14T17:06:22.480" v="6299"/>
          <ac:spMkLst>
            <pc:docMk/>
            <pc:sldMk cId="3742937504" sldId="561"/>
            <ac:spMk id="74" creationId="{3B8B6D82-A833-3225-EBF8-406C6C251E99}"/>
          </ac:spMkLst>
        </pc:spChg>
        <pc:spChg chg="add mod ord topLvl">
          <ac:chgData name="Trauer" userId="aa8b9dc3-a64d-4cc6-bd4f-f46eb5f096c9" providerId="ADAL" clId="{5B76CEF1-A6E3-49E3-8F70-F81E9495ECB4}" dt="2023-08-14T17:06:22.479" v="6297"/>
          <ac:spMkLst>
            <pc:docMk/>
            <pc:sldMk cId="3742937504" sldId="561"/>
            <ac:spMk id="75" creationId="{9DE3A007-1887-9F04-3891-C0BC983A0687}"/>
          </ac:spMkLst>
        </pc:spChg>
        <pc:spChg chg="add del mod modVis">
          <ac:chgData name="Trauer" userId="aa8b9dc3-a64d-4cc6-bd4f-f46eb5f096c9" providerId="ADAL" clId="{5B76CEF1-A6E3-49E3-8F70-F81E9495ECB4}" dt="2023-08-14T17:05:48.670" v="4106"/>
          <ac:spMkLst>
            <pc:docMk/>
            <pc:sldMk cId="3742937504" sldId="561"/>
            <ac:spMk id="76" creationId="{B767C2DD-F4C1-80EE-F521-E0465F1D8C84}"/>
          </ac:spMkLst>
        </pc:spChg>
        <pc:spChg chg="add del mod modVis">
          <ac:chgData name="Trauer" userId="aa8b9dc3-a64d-4cc6-bd4f-f46eb5f096c9" providerId="ADAL" clId="{5B76CEF1-A6E3-49E3-8F70-F81E9495ECB4}" dt="2023-08-14T17:05:49.128" v="4660"/>
          <ac:spMkLst>
            <pc:docMk/>
            <pc:sldMk cId="3742937504" sldId="561"/>
            <ac:spMk id="198" creationId="{58957001-4FDD-26DC-8B0F-CF7B75F98FA1}"/>
          </ac:spMkLst>
        </pc:spChg>
        <pc:spChg chg="add mod ord topLvl">
          <ac:chgData name="Trauer" userId="aa8b9dc3-a64d-4cc6-bd4f-f46eb5f096c9" providerId="ADAL" clId="{5B76CEF1-A6E3-49E3-8F70-F81E9495ECB4}" dt="2023-08-14T17:06:22.237" v="6107"/>
          <ac:spMkLst>
            <pc:docMk/>
            <pc:sldMk cId="3742937504" sldId="561"/>
            <ac:spMk id="199" creationId="{5694CEBF-21C8-0851-E264-9891BB7D3C67}"/>
          </ac:spMkLst>
        </pc:spChg>
        <pc:spChg chg="add mod ord topLvl">
          <ac:chgData name="Trauer" userId="aa8b9dc3-a64d-4cc6-bd4f-f46eb5f096c9" providerId="ADAL" clId="{5B76CEF1-A6E3-49E3-8F70-F81E9495ECB4}" dt="2023-08-14T17:06:22.236" v="6105"/>
          <ac:spMkLst>
            <pc:docMk/>
            <pc:sldMk cId="3742937504" sldId="561"/>
            <ac:spMk id="200" creationId="{9030C074-0ED7-3C68-CA09-DC33709AA644}"/>
          </ac:spMkLst>
        </pc:spChg>
        <pc:spChg chg="add mod ord topLvl">
          <ac:chgData name="Trauer" userId="aa8b9dc3-a64d-4cc6-bd4f-f46eb5f096c9" providerId="ADAL" clId="{5B76CEF1-A6E3-49E3-8F70-F81E9495ECB4}" dt="2023-08-14T17:06:22.236" v="6103"/>
          <ac:spMkLst>
            <pc:docMk/>
            <pc:sldMk cId="3742937504" sldId="561"/>
            <ac:spMk id="201" creationId="{6074AB0C-25C5-C5E2-09FC-2F2593339AC7}"/>
          </ac:spMkLst>
        </pc:spChg>
        <pc:spChg chg="add mod ord topLvl">
          <ac:chgData name="Trauer" userId="aa8b9dc3-a64d-4cc6-bd4f-f46eb5f096c9" providerId="ADAL" clId="{5B76CEF1-A6E3-49E3-8F70-F81E9495ECB4}" dt="2023-08-14T17:06:22.235" v="6101"/>
          <ac:spMkLst>
            <pc:docMk/>
            <pc:sldMk cId="3742937504" sldId="561"/>
            <ac:spMk id="202" creationId="{C4B87FF8-9DE6-17F8-6366-7918E945AE70}"/>
          </ac:spMkLst>
        </pc:spChg>
        <pc:spChg chg="add mod ord topLvl">
          <ac:chgData name="Trauer" userId="aa8b9dc3-a64d-4cc6-bd4f-f46eb5f096c9" providerId="ADAL" clId="{5B76CEF1-A6E3-49E3-8F70-F81E9495ECB4}" dt="2023-08-14T17:06:22.234" v="6099"/>
          <ac:spMkLst>
            <pc:docMk/>
            <pc:sldMk cId="3742937504" sldId="561"/>
            <ac:spMk id="203" creationId="{2897CAC9-CDFE-25B5-74CA-D67A35C42B6F}"/>
          </ac:spMkLst>
        </pc:spChg>
        <pc:spChg chg="add mod ord topLvl">
          <ac:chgData name="Trauer" userId="aa8b9dc3-a64d-4cc6-bd4f-f46eb5f096c9" providerId="ADAL" clId="{5B76CEF1-A6E3-49E3-8F70-F81E9495ECB4}" dt="2023-08-14T17:06:22.233" v="6097"/>
          <ac:spMkLst>
            <pc:docMk/>
            <pc:sldMk cId="3742937504" sldId="561"/>
            <ac:spMk id="204" creationId="{B3F52060-58A9-6CE3-F10D-9AC16436BB47}"/>
          </ac:spMkLst>
        </pc:spChg>
        <pc:spChg chg="add mod ord topLvl">
          <ac:chgData name="Trauer" userId="aa8b9dc3-a64d-4cc6-bd4f-f46eb5f096c9" providerId="ADAL" clId="{5B76CEF1-A6E3-49E3-8F70-F81E9495ECB4}" dt="2023-08-14T17:06:22.232" v="6095"/>
          <ac:spMkLst>
            <pc:docMk/>
            <pc:sldMk cId="3742937504" sldId="561"/>
            <ac:spMk id="205" creationId="{7E4BB3C6-6C6E-F925-D4E1-E6735E31622A}"/>
          </ac:spMkLst>
        </pc:spChg>
        <pc:spChg chg="add mod ord topLvl">
          <ac:chgData name="Trauer" userId="aa8b9dc3-a64d-4cc6-bd4f-f46eb5f096c9" providerId="ADAL" clId="{5B76CEF1-A6E3-49E3-8F70-F81E9495ECB4}" dt="2023-08-14T17:06:22.231" v="6093"/>
          <ac:spMkLst>
            <pc:docMk/>
            <pc:sldMk cId="3742937504" sldId="561"/>
            <ac:spMk id="206" creationId="{054B3ACB-4404-F3C7-CD11-A97F80552C81}"/>
          </ac:spMkLst>
        </pc:spChg>
        <pc:spChg chg="add mod ord topLvl">
          <ac:chgData name="Trauer" userId="aa8b9dc3-a64d-4cc6-bd4f-f46eb5f096c9" providerId="ADAL" clId="{5B76CEF1-A6E3-49E3-8F70-F81E9495ECB4}" dt="2023-08-14T17:06:22.230" v="6091"/>
          <ac:spMkLst>
            <pc:docMk/>
            <pc:sldMk cId="3742937504" sldId="561"/>
            <ac:spMk id="207" creationId="{1219AC54-7243-A522-5A7D-3795756A4F52}"/>
          </ac:spMkLst>
        </pc:spChg>
        <pc:spChg chg="add mod ord topLvl">
          <ac:chgData name="Trauer" userId="aa8b9dc3-a64d-4cc6-bd4f-f46eb5f096c9" providerId="ADAL" clId="{5B76CEF1-A6E3-49E3-8F70-F81E9495ECB4}" dt="2023-08-14T17:06:22.229" v="6089"/>
          <ac:spMkLst>
            <pc:docMk/>
            <pc:sldMk cId="3742937504" sldId="561"/>
            <ac:spMk id="208" creationId="{046EE800-64CC-0B06-A797-CDE520C3065E}"/>
          </ac:spMkLst>
        </pc:spChg>
        <pc:spChg chg="add mod ord topLvl">
          <ac:chgData name="Trauer" userId="aa8b9dc3-a64d-4cc6-bd4f-f46eb5f096c9" providerId="ADAL" clId="{5B76CEF1-A6E3-49E3-8F70-F81E9495ECB4}" dt="2023-08-14T17:06:22.228" v="6087"/>
          <ac:spMkLst>
            <pc:docMk/>
            <pc:sldMk cId="3742937504" sldId="561"/>
            <ac:spMk id="209" creationId="{A4FD3956-A6E3-EF24-8A94-0ED363F2BBAC}"/>
          </ac:spMkLst>
        </pc:spChg>
        <pc:spChg chg="add mod ord topLvl">
          <ac:chgData name="Trauer" userId="aa8b9dc3-a64d-4cc6-bd4f-f46eb5f096c9" providerId="ADAL" clId="{5B76CEF1-A6E3-49E3-8F70-F81E9495ECB4}" dt="2023-08-14T17:06:22.227" v="6085"/>
          <ac:spMkLst>
            <pc:docMk/>
            <pc:sldMk cId="3742937504" sldId="561"/>
            <ac:spMk id="210" creationId="{D97F9245-E2AF-F621-3B09-A0AAD9E5B023}"/>
          </ac:spMkLst>
        </pc:spChg>
        <pc:spChg chg="add mod ord topLvl">
          <ac:chgData name="Trauer" userId="aa8b9dc3-a64d-4cc6-bd4f-f46eb5f096c9" providerId="ADAL" clId="{5B76CEF1-A6E3-49E3-8F70-F81E9495ECB4}" dt="2023-08-14T17:06:22.226" v="6083"/>
          <ac:spMkLst>
            <pc:docMk/>
            <pc:sldMk cId="3742937504" sldId="561"/>
            <ac:spMk id="211" creationId="{68480E82-B254-BFA6-58C0-911E352C8CF2}"/>
          </ac:spMkLst>
        </pc:spChg>
        <pc:spChg chg="add del mod modVis">
          <ac:chgData name="Trauer" userId="aa8b9dc3-a64d-4cc6-bd4f-f46eb5f096c9" providerId="ADAL" clId="{5B76CEF1-A6E3-49E3-8F70-F81E9495ECB4}" dt="2023-08-14T17:05:53.306" v="5691"/>
          <ac:spMkLst>
            <pc:docMk/>
            <pc:sldMk cId="3742937504" sldId="561"/>
            <ac:spMk id="228" creationId="{D6034FE6-F899-1587-FED4-B0C5AAFEE3C2}"/>
          </ac:spMkLst>
        </pc:spChg>
        <pc:spChg chg="add del mod modVis">
          <ac:chgData name="Trauer" userId="aa8b9dc3-a64d-4cc6-bd4f-f46eb5f096c9" providerId="ADAL" clId="{5B76CEF1-A6E3-49E3-8F70-F81E9495ECB4}" dt="2023-08-14T17:05:51.590" v="5165"/>
          <ac:spMkLst>
            <pc:docMk/>
            <pc:sldMk cId="3742937504" sldId="561"/>
            <ac:spMk id="230" creationId="{ED70E974-CE41-E6EF-21BE-CBEF5F2CFE35}"/>
          </ac:spMkLst>
        </pc:spChg>
        <pc:spChg chg="add del mod modVis">
          <ac:chgData name="Trauer" userId="aa8b9dc3-a64d-4cc6-bd4f-f46eb5f096c9" providerId="ADAL" clId="{5B76CEF1-A6E3-49E3-8F70-F81E9495ECB4}" dt="2023-08-14T17:06:22.559" v="6331"/>
          <ac:spMkLst>
            <pc:docMk/>
            <pc:sldMk cId="3742937504" sldId="561"/>
            <ac:spMk id="240" creationId="{8870AAF9-DE53-77F1-6149-8B91BFC3479B}"/>
          </ac:spMkLst>
        </pc:spChg>
        <pc:spChg chg="add del mod modVis">
          <ac:chgData name="Trauer" userId="aa8b9dc3-a64d-4cc6-bd4f-f46eb5f096c9" providerId="ADAL" clId="{5B76CEF1-A6E3-49E3-8F70-F81E9495ECB4}" dt="2023-08-14T17:06:20.750" v="5806"/>
          <ac:spMkLst>
            <pc:docMk/>
            <pc:sldMk cId="3742937504" sldId="561"/>
            <ac:spMk id="242" creationId="{54A24304-04F2-38FA-B003-6933C46F7D34}"/>
          </ac:spMkLst>
        </pc:spChg>
        <pc:grpChg chg="add del mod">
          <ac:chgData name="Trauer" userId="aa8b9dc3-a64d-4cc6-bd4f-f46eb5f096c9" providerId="ADAL" clId="{5B76CEF1-A6E3-49E3-8F70-F81E9495ECB4}" dt="2023-08-14T17:05:48.013" v="3658"/>
          <ac:grpSpMkLst>
            <pc:docMk/>
            <pc:sldMk cId="3742937504" sldId="561"/>
            <ac:grpSpMk id="16" creationId="{962466F4-8D1D-8150-FAE5-E141158EC899}"/>
          </ac:grpSpMkLst>
        </pc:grpChg>
        <pc:grpChg chg="add del mod">
          <ac:chgData name="Trauer" userId="aa8b9dc3-a64d-4cc6-bd4f-f46eb5f096c9" providerId="ADAL" clId="{5B76CEF1-A6E3-49E3-8F70-F81E9495ECB4}" dt="2023-08-14T17:05:49.206" v="4713"/>
          <ac:grpSpMkLst>
            <pc:docMk/>
            <pc:sldMk cId="3742937504" sldId="561"/>
            <ac:grpSpMk id="44" creationId="{648CB56E-C4A4-78F1-C71A-ED47B76DD67F}"/>
          </ac:grpSpMkLst>
        </pc:grpChg>
        <pc:grpChg chg="add del mod">
          <ac:chgData name="Trauer" userId="aa8b9dc3-a64d-4cc6-bd4f-f46eb5f096c9" providerId="ADAL" clId="{5B76CEF1-A6E3-49E3-8F70-F81E9495ECB4}" dt="2023-08-14T17:05:49.360" v="4792"/>
          <ac:grpSpMkLst>
            <pc:docMk/>
            <pc:sldMk cId="3742937504" sldId="561"/>
            <ac:grpSpMk id="212" creationId="{46BD27B8-AECF-0ABE-03C5-7436B50C2203}"/>
          </ac:grpSpMkLst>
        </pc:grpChg>
        <pc:grpChg chg="add del mod">
          <ac:chgData name="Trauer" userId="aa8b9dc3-a64d-4cc6-bd4f-f46eb5f096c9" providerId="ADAL" clId="{5B76CEF1-A6E3-49E3-8F70-F81E9495ECB4}" dt="2023-08-14T17:05:52.746" v="5432"/>
          <ac:grpSpMkLst>
            <pc:docMk/>
            <pc:sldMk cId="3742937504" sldId="561"/>
            <ac:grpSpMk id="227" creationId="{CFBCCB85-B942-62A3-A661-17DEA18FF508}"/>
          </ac:grpSpMkLst>
        </pc:grpChg>
        <pc:grpChg chg="add del mod">
          <ac:chgData name="Trauer" userId="aa8b9dc3-a64d-4cc6-bd4f-f46eb5f096c9" providerId="ADAL" clId="{5B76CEF1-A6E3-49E3-8F70-F81E9495ECB4}" dt="2023-08-14T17:06:22.072" v="6073"/>
          <ac:grpSpMkLst>
            <pc:docMk/>
            <pc:sldMk cId="3742937504" sldId="561"/>
            <ac:grpSpMk id="239" creationId="{DC9E687B-FD22-6AC3-6F7A-715F68A58531}"/>
          </ac:grpSpMkLst>
        </pc:grpChg>
        <pc:grpChg chg="add del mod">
          <ac:chgData name="Trauer" userId="aa8b9dc3-a64d-4cc6-bd4f-f46eb5f096c9" providerId="ADAL" clId="{5B76CEF1-A6E3-49E3-8F70-F81E9495ECB4}" dt="2023-08-14T17:06:27.093" v="6332"/>
          <ac:grpSpMkLst>
            <pc:docMk/>
            <pc:sldMk cId="3742937504" sldId="561"/>
            <ac:grpSpMk id="251" creationId="{FEF42EE0-800C-2627-E5A7-4079FD02E8D9}"/>
          </ac:grpSpMkLst>
        </pc:grpChg>
        <pc:graphicFrameChg chg="add mod">
          <ac:chgData name="Trauer" userId="aa8b9dc3-a64d-4cc6-bd4f-f46eb5f096c9" providerId="ADAL" clId="{5B76CEF1-A6E3-49E3-8F70-F81E9495ECB4}" dt="2023-08-14T17:11:34.396" v="6395"/>
          <ac:graphicFrameMkLst>
            <pc:docMk/>
            <pc:sldMk cId="3742937504" sldId="561"/>
            <ac:graphicFrameMk id="252" creationId="{A7B6A3D1-B30B-5D79-30F1-5DCDC18D30AD}"/>
          </ac:graphicFrameMkLst>
        </pc:graphicFrameChg>
        <pc:cxnChg chg="add del mod modVis">
          <ac:chgData name="Trauer" userId="aa8b9dc3-a64d-4cc6-bd4f-f46eb5f096c9" providerId="ADAL" clId="{5B76CEF1-A6E3-49E3-8F70-F81E9495ECB4}" dt="2023-08-14T17:05:47.877" v="3504"/>
          <ac:cxnSpMkLst>
            <pc:docMk/>
            <pc:sldMk cId="3742937504" sldId="561"/>
            <ac:cxnSpMk id="18" creationId="{CFDBB2E1-21A5-7D9E-F2A7-E52E59FB7881}"/>
          </ac:cxnSpMkLst>
        </pc:cxnChg>
        <pc:cxnChg chg="add del mod modVis">
          <ac:chgData name="Trauer" userId="aa8b9dc3-a64d-4cc6-bd4f-f46eb5f096c9" providerId="ADAL" clId="{5B76CEF1-A6E3-49E3-8F70-F81E9495ECB4}" dt="2023-08-14T17:05:47.939" v="3579"/>
          <ac:cxnSpMkLst>
            <pc:docMk/>
            <pc:sldMk cId="3742937504" sldId="561"/>
            <ac:cxnSpMk id="27" creationId="{D2B026A1-A122-F976-F165-98A8BFD3112F}"/>
          </ac:cxnSpMkLst>
        </pc:cxnChg>
        <pc:cxnChg chg="add del mod modVis">
          <ac:chgData name="Trauer" userId="aa8b9dc3-a64d-4cc6-bd4f-f46eb5f096c9" providerId="ADAL" clId="{5B76CEF1-A6E3-49E3-8F70-F81E9495ECB4}" dt="2023-08-14T17:05:48.001" v="3654"/>
          <ac:cxnSpMkLst>
            <pc:docMk/>
            <pc:sldMk cId="3742937504" sldId="561"/>
            <ac:cxnSpMk id="36" creationId="{61D1E9FF-A983-95E3-47CD-8F26A53F27E8}"/>
          </ac:cxnSpMkLst>
        </pc:cxnChg>
        <pc:cxnChg chg="add del mod modVis">
          <ac:chgData name="Trauer" userId="aa8b9dc3-a64d-4cc6-bd4f-f46eb5f096c9" providerId="ADAL" clId="{5B76CEF1-A6E3-49E3-8F70-F81E9495ECB4}" dt="2023-08-14T17:05:49.941" v="5049"/>
          <ac:cxnSpMkLst>
            <pc:docMk/>
            <pc:sldMk cId="3742937504" sldId="561"/>
            <ac:cxnSpMk id="46" creationId="{6620A12B-656E-ABD5-711C-897454D71197}"/>
          </ac:cxnSpMkLst>
        </pc:cxnChg>
        <pc:cxnChg chg="add del mod modVis">
          <ac:chgData name="Trauer" userId="aa8b9dc3-a64d-4cc6-bd4f-f46eb5f096c9" providerId="ADAL" clId="{5B76CEF1-A6E3-49E3-8F70-F81E9495ECB4}" dt="2023-08-14T17:05:48.687" v="4113"/>
          <ac:cxnSpMkLst>
            <pc:docMk/>
            <pc:sldMk cId="3742937504" sldId="561"/>
            <ac:cxnSpMk id="77" creationId="{BBC399BD-562F-7ED9-236B-9DA591712D95}"/>
          </ac:cxnSpMkLst>
        </pc:cxnChg>
        <pc:cxnChg chg="add del mod modVis">
          <ac:chgData name="Trauer" userId="aa8b9dc3-a64d-4cc6-bd4f-f46eb5f096c9" providerId="ADAL" clId="{5B76CEF1-A6E3-49E3-8F70-F81E9495ECB4}" dt="2023-08-14T17:05:48.692" v="4119"/>
          <ac:cxnSpMkLst>
            <pc:docMk/>
            <pc:sldMk cId="3742937504" sldId="561"/>
            <ac:cxnSpMk id="78" creationId="{705C7C23-46AA-7283-253F-0DB87BF33FAB}"/>
          </ac:cxnSpMkLst>
        </pc:cxnChg>
        <pc:cxnChg chg="add mod ord topLvl">
          <ac:chgData name="Trauer" userId="aa8b9dc3-a64d-4cc6-bd4f-f46eb5f096c9" providerId="ADAL" clId="{5B76CEF1-A6E3-49E3-8F70-F81E9495ECB4}" dt="2023-08-14T17:06:22.351" v="6287"/>
          <ac:cxnSpMkLst>
            <pc:docMk/>
            <pc:sldMk cId="3742937504" sldId="561"/>
            <ac:cxnSpMk id="79" creationId="{C954BE2B-022D-A47C-0948-2A019549B582}"/>
          </ac:cxnSpMkLst>
        </pc:cxnChg>
        <pc:cxnChg chg="add mod ord topLvl">
          <ac:chgData name="Trauer" userId="aa8b9dc3-a64d-4cc6-bd4f-f46eb5f096c9" providerId="ADAL" clId="{5B76CEF1-A6E3-49E3-8F70-F81E9495ECB4}" dt="2023-08-14T17:06:22.350" v="6285"/>
          <ac:cxnSpMkLst>
            <pc:docMk/>
            <pc:sldMk cId="3742937504" sldId="561"/>
            <ac:cxnSpMk id="80" creationId="{94BDACDE-FF85-EA11-B720-5883E6C49179}"/>
          </ac:cxnSpMkLst>
        </pc:cxnChg>
        <pc:cxnChg chg="add mod ord topLvl">
          <ac:chgData name="Trauer" userId="aa8b9dc3-a64d-4cc6-bd4f-f46eb5f096c9" providerId="ADAL" clId="{5B76CEF1-A6E3-49E3-8F70-F81E9495ECB4}" dt="2023-08-14T17:06:22.349" v="6283"/>
          <ac:cxnSpMkLst>
            <pc:docMk/>
            <pc:sldMk cId="3742937504" sldId="561"/>
            <ac:cxnSpMk id="81" creationId="{C1FE10C2-0941-08F0-F40D-A74374E8E38A}"/>
          </ac:cxnSpMkLst>
        </pc:cxnChg>
        <pc:cxnChg chg="add mod ord topLvl">
          <ac:chgData name="Trauer" userId="aa8b9dc3-a64d-4cc6-bd4f-f46eb5f096c9" providerId="ADAL" clId="{5B76CEF1-A6E3-49E3-8F70-F81E9495ECB4}" dt="2023-08-14T17:06:22.348" v="6281"/>
          <ac:cxnSpMkLst>
            <pc:docMk/>
            <pc:sldMk cId="3742937504" sldId="561"/>
            <ac:cxnSpMk id="82" creationId="{F84D22F4-88E3-320C-911D-E29A14DF2583}"/>
          </ac:cxnSpMkLst>
        </pc:cxnChg>
        <pc:cxnChg chg="add mod ord topLvl">
          <ac:chgData name="Trauer" userId="aa8b9dc3-a64d-4cc6-bd4f-f46eb5f096c9" providerId="ADAL" clId="{5B76CEF1-A6E3-49E3-8F70-F81E9495ECB4}" dt="2023-08-14T17:06:22.346" v="6279"/>
          <ac:cxnSpMkLst>
            <pc:docMk/>
            <pc:sldMk cId="3742937504" sldId="561"/>
            <ac:cxnSpMk id="83" creationId="{4464AC30-C2E5-AB7D-5969-ED4CC18DE816}"/>
          </ac:cxnSpMkLst>
        </pc:cxnChg>
        <pc:cxnChg chg="add mod ord topLvl">
          <ac:chgData name="Trauer" userId="aa8b9dc3-a64d-4cc6-bd4f-f46eb5f096c9" providerId="ADAL" clId="{5B76CEF1-A6E3-49E3-8F70-F81E9495ECB4}" dt="2023-08-14T17:06:22.345" v="6277"/>
          <ac:cxnSpMkLst>
            <pc:docMk/>
            <pc:sldMk cId="3742937504" sldId="561"/>
            <ac:cxnSpMk id="84" creationId="{62B34D0F-BD45-BC96-A73D-5A482551A08D}"/>
          </ac:cxnSpMkLst>
        </pc:cxnChg>
        <pc:cxnChg chg="add del mod modVis">
          <ac:chgData name="Trauer" userId="aa8b9dc3-a64d-4cc6-bd4f-f46eb5f096c9" providerId="ADAL" clId="{5B76CEF1-A6E3-49E3-8F70-F81E9495ECB4}" dt="2023-08-14T17:05:48.723" v="4149"/>
          <ac:cxnSpMkLst>
            <pc:docMk/>
            <pc:sldMk cId="3742937504" sldId="561"/>
            <ac:cxnSpMk id="85" creationId="{644AD22C-756E-F9FF-A52D-5CF1CE38DCBB}"/>
          </ac:cxnSpMkLst>
        </pc:cxnChg>
        <pc:cxnChg chg="add mod ord topLvl">
          <ac:chgData name="Trauer" userId="aa8b9dc3-a64d-4cc6-bd4f-f46eb5f096c9" providerId="ADAL" clId="{5B76CEF1-A6E3-49E3-8F70-F81E9495ECB4}" dt="2023-08-14T17:06:22.343" v="6275"/>
          <ac:cxnSpMkLst>
            <pc:docMk/>
            <pc:sldMk cId="3742937504" sldId="561"/>
            <ac:cxnSpMk id="86" creationId="{25BB1252-8DC3-E7AC-7E10-D4031DE83C81}"/>
          </ac:cxnSpMkLst>
        </pc:cxnChg>
        <pc:cxnChg chg="add del mod modVis">
          <ac:chgData name="Trauer" userId="aa8b9dc3-a64d-4cc6-bd4f-f46eb5f096c9" providerId="ADAL" clId="{5B76CEF1-A6E3-49E3-8F70-F81E9495ECB4}" dt="2023-08-14T17:05:48.734" v="4159"/>
          <ac:cxnSpMkLst>
            <pc:docMk/>
            <pc:sldMk cId="3742937504" sldId="561"/>
            <ac:cxnSpMk id="87" creationId="{325DAC48-CE1E-1AB5-90CB-2A89B309294F}"/>
          </ac:cxnSpMkLst>
        </pc:cxnChg>
        <pc:cxnChg chg="add mod ord topLvl">
          <ac:chgData name="Trauer" userId="aa8b9dc3-a64d-4cc6-bd4f-f46eb5f096c9" providerId="ADAL" clId="{5B76CEF1-A6E3-49E3-8F70-F81E9495ECB4}" dt="2023-08-14T17:06:22.342" v="6273"/>
          <ac:cxnSpMkLst>
            <pc:docMk/>
            <pc:sldMk cId="3742937504" sldId="561"/>
            <ac:cxnSpMk id="88" creationId="{ACEEDA68-A1D2-8A81-B59D-5428D498BB08}"/>
          </ac:cxnSpMkLst>
        </pc:cxnChg>
        <pc:cxnChg chg="add mod ord topLvl">
          <ac:chgData name="Trauer" userId="aa8b9dc3-a64d-4cc6-bd4f-f46eb5f096c9" providerId="ADAL" clId="{5B76CEF1-A6E3-49E3-8F70-F81E9495ECB4}" dt="2023-08-14T17:06:22.340" v="6271"/>
          <ac:cxnSpMkLst>
            <pc:docMk/>
            <pc:sldMk cId="3742937504" sldId="561"/>
            <ac:cxnSpMk id="89" creationId="{F8475231-2D2C-F50F-6A17-38B25B6C49FD}"/>
          </ac:cxnSpMkLst>
        </pc:cxnChg>
        <pc:cxnChg chg="add mod ord topLvl">
          <ac:chgData name="Trauer" userId="aa8b9dc3-a64d-4cc6-bd4f-f46eb5f096c9" providerId="ADAL" clId="{5B76CEF1-A6E3-49E3-8F70-F81E9495ECB4}" dt="2023-08-14T17:06:22.338" v="6269"/>
          <ac:cxnSpMkLst>
            <pc:docMk/>
            <pc:sldMk cId="3742937504" sldId="561"/>
            <ac:cxnSpMk id="90" creationId="{06F34AC2-A903-BB91-AF13-45A2EC81813D}"/>
          </ac:cxnSpMkLst>
        </pc:cxnChg>
        <pc:cxnChg chg="add mod ord topLvl">
          <ac:chgData name="Trauer" userId="aa8b9dc3-a64d-4cc6-bd4f-f46eb5f096c9" providerId="ADAL" clId="{5B76CEF1-A6E3-49E3-8F70-F81E9495ECB4}" dt="2023-08-14T17:06:22.337" v="6267"/>
          <ac:cxnSpMkLst>
            <pc:docMk/>
            <pc:sldMk cId="3742937504" sldId="561"/>
            <ac:cxnSpMk id="91" creationId="{843081C1-3C13-A899-05FE-554EDD0B62DA}"/>
          </ac:cxnSpMkLst>
        </pc:cxnChg>
        <pc:cxnChg chg="add mod ord topLvl">
          <ac:chgData name="Trauer" userId="aa8b9dc3-a64d-4cc6-bd4f-f46eb5f096c9" providerId="ADAL" clId="{5B76CEF1-A6E3-49E3-8F70-F81E9495ECB4}" dt="2023-08-14T17:06:22.335" v="6265"/>
          <ac:cxnSpMkLst>
            <pc:docMk/>
            <pc:sldMk cId="3742937504" sldId="561"/>
            <ac:cxnSpMk id="92" creationId="{FBDBBEDD-E482-DB74-B796-914277D19334}"/>
          </ac:cxnSpMkLst>
        </pc:cxnChg>
        <pc:cxnChg chg="add mod ord topLvl">
          <ac:chgData name="Trauer" userId="aa8b9dc3-a64d-4cc6-bd4f-f46eb5f096c9" providerId="ADAL" clId="{5B76CEF1-A6E3-49E3-8F70-F81E9495ECB4}" dt="2023-08-14T17:06:22.334" v="6263"/>
          <ac:cxnSpMkLst>
            <pc:docMk/>
            <pc:sldMk cId="3742937504" sldId="561"/>
            <ac:cxnSpMk id="93" creationId="{B7CC17FA-DE9E-D60F-3008-049897EE5C51}"/>
          </ac:cxnSpMkLst>
        </pc:cxnChg>
        <pc:cxnChg chg="add del mod modVis">
          <ac:chgData name="Trauer" userId="aa8b9dc3-a64d-4cc6-bd4f-f46eb5f096c9" providerId="ADAL" clId="{5B76CEF1-A6E3-49E3-8F70-F81E9495ECB4}" dt="2023-08-14T17:05:48.763" v="4189"/>
          <ac:cxnSpMkLst>
            <pc:docMk/>
            <pc:sldMk cId="3742937504" sldId="561"/>
            <ac:cxnSpMk id="94" creationId="{9258C882-E733-AD9E-89D7-90B10EC05470}"/>
          </ac:cxnSpMkLst>
        </pc:cxnChg>
        <pc:cxnChg chg="add mod ord topLvl">
          <ac:chgData name="Trauer" userId="aa8b9dc3-a64d-4cc6-bd4f-f46eb5f096c9" providerId="ADAL" clId="{5B76CEF1-A6E3-49E3-8F70-F81E9495ECB4}" dt="2023-08-14T17:06:22.332" v="6261"/>
          <ac:cxnSpMkLst>
            <pc:docMk/>
            <pc:sldMk cId="3742937504" sldId="561"/>
            <ac:cxnSpMk id="95" creationId="{90211FD0-BDD7-7309-F0FF-7B1CA9993980}"/>
          </ac:cxnSpMkLst>
        </pc:cxnChg>
        <pc:cxnChg chg="add del mod modVis">
          <ac:chgData name="Trauer" userId="aa8b9dc3-a64d-4cc6-bd4f-f46eb5f096c9" providerId="ADAL" clId="{5B76CEF1-A6E3-49E3-8F70-F81E9495ECB4}" dt="2023-08-14T17:05:48.771" v="4199"/>
          <ac:cxnSpMkLst>
            <pc:docMk/>
            <pc:sldMk cId="3742937504" sldId="561"/>
            <ac:cxnSpMk id="96" creationId="{F27448B1-CCF9-BD3C-18DA-8AD247F4358E}"/>
          </ac:cxnSpMkLst>
        </pc:cxnChg>
        <pc:cxnChg chg="add mod ord topLvl">
          <ac:chgData name="Trauer" userId="aa8b9dc3-a64d-4cc6-bd4f-f46eb5f096c9" providerId="ADAL" clId="{5B76CEF1-A6E3-49E3-8F70-F81E9495ECB4}" dt="2023-08-14T17:06:22.330" v="6259"/>
          <ac:cxnSpMkLst>
            <pc:docMk/>
            <pc:sldMk cId="3742937504" sldId="561"/>
            <ac:cxnSpMk id="97" creationId="{A8AD07BA-8DE0-982D-61C0-595960108092}"/>
          </ac:cxnSpMkLst>
        </pc:cxnChg>
        <pc:cxnChg chg="add mod ord topLvl">
          <ac:chgData name="Trauer" userId="aa8b9dc3-a64d-4cc6-bd4f-f46eb5f096c9" providerId="ADAL" clId="{5B76CEF1-A6E3-49E3-8F70-F81E9495ECB4}" dt="2023-08-14T17:06:22.328" v="6257"/>
          <ac:cxnSpMkLst>
            <pc:docMk/>
            <pc:sldMk cId="3742937504" sldId="561"/>
            <ac:cxnSpMk id="98" creationId="{D14A0565-14CF-62F9-5710-A368FF554C68}"/>
          </ac:cxnSpMkLst>
        </pc:cxnChg>
        <pc:cxnChg chg="add mod ord topLvl">
          <ac:chgData name="Trauer" userId="aa8b9dc3-a64d-4cc6-bd4f-f46eb5f096c9" providerId="ADAL" clId="{5B76CEF1-A6E3-49E3-8F70-F81E9495ECB4}" dt="2023-08-14T17:06:22.327" v="6255"/>
          <ac:cxnSpMkLst>
            <pc:docMk/>
            <pc:sldMk cId="3742937504" sldId="561"/>
            <ac:cxnSpMk id="99" creationId="{09090ADF-22EB-255E-1C50-6A36FC20A29C}"/>
          </ac:cxnSpMkLst>
        </pc:cxnChg>
        <pc:cxnChg chg="add del mod modVis">
          <ac:chgData name="Trauer" userId="aa8b9dc3-a64d-4cc6-bd4f-f46eb5f096c9" providerId="ADAL" clId="{5B76CEF1-A6E3-49E3-8F70-F81E9495ECB4}" dt="2023-08-14T17:05:48.786" v="4217"/>
          <ac:cxnSpMkLst>
            <pc:docMk/>
            <pc:sldMk cId="3742937504" sldId="561"/>
            <ac:cxnSpMk id="100" creationId="{3EE93322-CFC9-5FBE-CC02-6AE382144E6F}"/>
          </ac:cxnSpMkLst>
        </pc:cxnChg>
        <pc:cxnChg chg="add mod ord topLvl">
          <ac:chgData name="Trauer" userId="aa8b9dc3-a64d-4cc6-bd4f-f46eb5f096c9" providerId="ADAL" clId="{5B76CEF1-A6E3-49E3-8F70-F81E9495ECB4}" dt="2023-08-14T17:06:22.325" v="6253"/>
          <ac:cxnSpMkLst>
            <pc:docMk/>
            <pc:sldMk cId="3742937504" sldId="561"/>
            <ac:cxnSpMk id="101" creationId="{3D365B8A-1353-BB4A-0418-511E4CF4F0EC}"/>
          </ac:cxnSpMkLst>
        </pc:cxnChg>
        <pc:cxnChg chg="add del mod modVis">
          <ac:chgData name="Trauer" userId="aa8b9dc3-a64d-4cc6-bd4f-f46eb5f096c9" providerId="ADAL" clId="{5B76CEF1-A6E3-49E3-8F70-F81E9495ECB4}" dt="2023-08-14T17:05:48.795" v="4227"/>
          <ac:cxnSpMkLst>
            <pc:docMk/>
            <pc:sldMk cId="3742937504" sldId="561"/>
            <ac:cxnSpMk id="102" creationId="{3A1C7260-5FB2-88D5-CC60-C31C05167AB1}"/>
          </ac:cxnSpMkLst>
        </pc:cxnChg>
        <pc:cxnChg chg="add mod ord topLvl">
          <ac:chgData name="Trauer" userId="aa8b9dc3-a64d-4cc6-bd4f-f46eb5f096c9" providerId="ADAL" clId="{5B76CEF1-A6E3-49E3-8F70-F81E9495ECB4}" dt="2023-08-14T17:06:22.324" v="6251"/>
          <ac:cxnSpMkLst>
            <pc:docMk/>
            <pc:sldMk cId="3742937504" sldId="561"/>
            <ac:cxnSpMk id="103" creationId="{ADC08B57-46C8-DDBE-1208-2B2355AC79CE}"/>
          </ac:cxnSpMkLst>
        </pc:cxnChg>
        <pc:cxnChg chg="add mod ord topLvl">
          <ac:chgData name="Trauer" userId="aa8b9dc3-a64d-4cc6-bd4f-f46eb5f096c9" providerId="ADAL" clId="{5B76CEF1-A6E3-49E3-8F70-F81E9495ECB4}" dt="2023-08-14T17:06:22.322" v="6249"/>
          <ac:cxnSpMkLst>
            <pc:docMk/>
            <pc:sldMk cId="3742937504" sldId="561"/>
            <ac:cxnSpMk id="104" creationId="{B9EA47F2-D6A3-AAF8-5D10-48194A6359C8}"/>
          </ac:cxnSpMkLst>
        </pc:cxnChg>
        <pc:cxnChg chg="add del mod modVis">
          <ac:chgData name="Trauer" userId="aa8b9dc3-a64d-4cc6-bd4f-f46eb5f096c9" providerId="ADAL" clId="{5B76CEF1-A6E3-49E3-8F70-F81E9495ECB4}" dt="2023-08-14T17:05:48.806" v="4241"/>
          <ac:cxnSpMkLst>
            <pc:docMk/>
            <pc:sldMk cId="3742937504" sldId="561"/>
            <ac:cxnSpMk id="105" creationId="{9E140508-1B1C-08F3-7C03-034081DD763D}"/>
          </ac:cxnSpMkLst>
        </pc:cxnChg>
        <pc:cxnChg chg="add mod ord topLvl">
          <ac:chgData name="Trauer" userId="aa8b9dc3-a64d-4cc6-bd4f-f46eb5f096c9" providerId="ADAL" clId="{5B76CEF1-A6E3-49E3-8F70-F81E9495ECB4}" dt="2023-08-14T17:06:22.321" v="6247"/>
          <ac:cxnSpMkLst>
            <pc:docMk/>
            <pc:sldMk cId="3742937504" sldId="561"/>
            <ac:cxnSpMk id="106" creationId="{BDD2AC18-755F-2E44-084B-5E0BD0BA54F9}"/>
          </ac:cxnSpMkLst>
        </pc:cxnChg>
        <pc:cxnChg chg="add del mod modVis">
          <ac:chgData name="Trauer" userId="aa8b9dc3-a64d-4cc6-bd4f-f46eb5f096c9" providerId="ADAL" clId="{5B76CEF1-A6E3-49E3-8F70-F81E9495ECB4}" dt="2023-08-14T17:05:48.813" v="4251"/>
          <ac:cxnSpMkLst>
            <pc:docMk/>
            <pc:sldMk cId="3742937504" sldId="561"/>
            <ac:cxnSpMk id="107" creationId="{006FE360-CF5C-0CF7-24A2-FF1D0EEDB99B}"/>
          </ac:cxnSpMkLst>
        </pc:cxnChg>
        <pc:cxnChg chg="add mod ord topLvl">
          <ac:chgData name="Trauer" userId="aa8b9dc3-a64d-4cc6-bd4f-f46eb5f096c9" providerId="ADAL" clId="{5B76CEF1-A6E3-49E3-8F70-F81E9495ECB4}" dt="2023-08-14T17:06:22.319" v="6245"/>
          <ac:cxnSpMkLst>
            <pc:docMk/>
            <pc:sldMk cId="3742937504" sldId="561"/>
            <ac:cxnSpMk id="108" creationId="{6C44E5F4-C230-975D-463E-C7FF6630136F}"/>
          </ac:cxnSpMkLst>
        </pc:cxnChg>
        <pc:cxnChg chg="add mod ord topLvl">
          <ac:chgData name="Trauer" userId="aa8b9dc3-a64d-4cc6-bd4f-f46eb5f096c9" providerId="ADAL" clId="{5B76CEF1-A6E3-49E3-8F70-F81E9495ECB4}" dt="2023-08-14T17:06:22.317" v="6243"/>
          <ac:cxnSpMkLst>
            <pc:docMk/>
            <pc:sldMk cId="3742937504" sldId="561"/>
            <ac:cxnSpMk id="109" creationId="{2838940E-F058-87E5-006D-CAD43BDCCB5B}"/>
          </ac:cxnSpMkLst>
        </pc:cxnChg>
        <pc:cxnChg chg="add mod ord topLvl">
          <ac:chgData name="Trauer" userId="aa8b9dc3-a64d-4cc6-bd4f-f46eb5f096c9" providerId="ADAL" clId="{5B76CEF1-A6E3-49E3-8F70-F81E9495ECB4}" dt="2023-08-14T17:06:22.315" v="6241"/>
          <ac:cxnSpMkLst>
            <pc:docMk/>
            <pc:sldMk cId="3742937504" sldId="561"/>
            <ac:cxnSpMk id="110" creationId="{536081B7-9F4B-4A0F-A0A6-DCF1FBA58950}"/>
          </ac:cxnSpMkLst>
        </pc:cxnChg>
        <pc:cxnChg chg="add mod ord topLvl">
          <ac:chgData name="Trauer" userId="aa8b9dc3-a64d-4cc6-bd4f-f46eb5f096c9" providerId="ADAL" clId="{5B76CEF1-A6E3-49E3-8F70-F81E9495ECB4}" dt="2023-08-14T17:06:22.314" v="6239"/>
          <ac:cxnSpMkLst>
            <pc:docMk/>
            <pc:sldMk cId="3742937504" sldId="561"/>
            <ac:cxnSpMk id="111" creationId="{1500FC0E-E0EB-B131-69B9-6D94EE4010BB}"/>
          </ac:cxnSpMkLst>
        </pc:cxnChg>
        <pc:cxnChg chg="add mod ord topLvl">
          <ac:chgData name="Trauer" userId="aa8b9dc3-a64d-4cc6-bd4f-f46eb5f096c9" providerId="ADAL" clId="{5B76CEF1-A6E3-49E3-8F70-F81E9495ECB4}" dt="2023-08-14T17:06:22.313" v="6237"/>
          <ac:cxnSpMkLst>
            <pc:docMk/>
            <pc:sldMk cId="3742937504" sldId="561"/>
            <ac:cxnSpMk id="112" creationId="{4D435318-A791-CFC7-8857-44E400520589}"/>
          </ac:cxnSpMkLst>
        </pc:cxnChg>
        <pc:cxnChg chg="add mod ord topLvl">
          <ac:chgData name="Trauer" userId="aa8b9dc3-a64d-4cc6-bd4f-f46eb5f096c9" providerId="ADAL" clId="{5B76CEF1-A6E3-49E3-8F70-F81E9495ECB4}" dt="2023-08-14T17:06:22.312" v="6235"/>
          <ac:cxnSpMkLst>
            <pc:docMk/>
            <pc:sldMk cId="3742937504" sldId="561"/>
            <ac:cxnSpMk id="113" creationId="{A0B6169F-FE6E-F803-9466-58B242822542}"/>
          </ac:cxnSpMkLst>
        </pc:cxnChg>
        <pc:cxnChg chg="add del mod modVis">
          <ac:chgData name="Trauer" userId="aa8b9dc3-a64d-4cc6-bd4f-f46eb5f096c9" providerId="ADAL" clId="{5B76CEF1-A6E3-49E3-8F70-F81E9495ECB4}" dt="2023-08-14T17:05:48.837" v="4281"/>
          <ac:cxnSpMkLst>
            <pc:docMk/>
            <pc:sldMk cId="3742937504" sldId="561"/>
            <ac:cxnSpMk id="114" creationId="{F99B8929-6BDC-5BC7-AEB1-E29A729AF53C}"/>
          </ac:cxnSpMkLst>
        </pc:cxnChg>
        <pc:cxnChg chg="add mod ord topLvl">
          <ac:chgData name="Trauer" userId="aa8b9dc3-a64d-4cc6-bd4f-f46eb5f096c9" providerId="ADAL" clId="{5B76CEF1-A6E3-49E3-8F70-F81E9495ECB4}" dt="2023-08-14T17:06:22.311" v="6233"/>
          <ac:cxnSpMkLst>
            <pc:docMk/>
            <pc:sldMk cId="3742937504" sldId="561"/>
            <ac:cxnSpMk id="115" creationId="{4885AC14-A474-656B-FB32-1351FA78B2D0}"/>
          </ac:cxnSpMkLst>
        </pc:cxnChg>
        <pc:cxnChg chg="add del mod modVis">
          <ac:chgData name="Trauer" userId="aa8b9dc3-a64d-4cc6-bd4f-f46eb5f096c9" providerId="ADAL" clId="{5B76CEF1-A6E3-49E3-8F70-F81E9495ECB4}" dt="2023-08-14T17:05:48.845" v="4291"/>
          <ac:cxnSpMkLst>
            <pc:docMk/>
            <pc:sldMk cId="3742937504" sldId="561"/>
            <ac:cxnSpMk id="116" creationId="{5221350E-C3F3-FA4E-2BEA-0268BF5E2A92}"/>
          </ac:cxnSpMkLst>
        </pc:cxnChg>
        <pc:cxnChg chg="add mod ord topLvl">
          <ac:chgData name="Trauer" userId="aa8b9dc3-a64d-4cc6-bd4f-f46eb5f096c9" providerId="ADAL" clId="{5B76CEF1-A6E3-49E3-8F70-F81E9495ECB4}" dt="2023-08-14T17:06:22.310" v="6231"/>
          <ac:cxnSpMkLst>
            <pc:docMk/>
            <pc:sldMk cId="3742937504" sldId="561"/>
            <ac:cxnSpMk id="117" creationId="{58BBDD55-F1E2-B28E-51E1-9ED7B0236960}"/>
          </ac:cxnSpMkLst>
        </pc:cxnChg>
        <pc:cxnChg chg="add mod ord topLvl">
          <ac:chgData name="Trauer" userId="aa8b9dc3-a64d-4cc6-bd4f-f46eb5f096c9" providerId="ADAL" clId="{5B76CEF1-A6E3-49E3-8F70-F81E9495ECB4}" dt="2023-08-14T17:06:22.309" v="6229"/>
          <ac:cxnSpMkLst>
            <pc:docMk/>
            <pc:sldMk cId="3742937504" sldId="561"/>
            <ac:cxnSpMk id="118" creationId="{84846EAF-DB58-753A-603F-7AB3F2874C5E}"/>
          </ac:cxnSpMkLst>
        </pc:cxnChg>
        <pc:cxnChg chg="add mod ord topLvl">
          <ac:chgData name="Trauer" userId="aa8b9dc3-a64d-4cc6-bd4f-f46eb5f096c9" providerId="ADAL" clId="{5B76CEF1-A6E3-49E3-8F70-F81E9495ECB4}" dt="2023-08-14T17:06:22.307" v="6227"/>
          <ac:cxnSpMkLst>
            <pc:docMk/>
            <pc:sldMk cId="3742937504" sldId="561"/>
            <ac:cxnSpMk id="119" creationId="{5A1A53F9-82D6-09DB-81FA-6B12FF7D9929}"/>
          </ac:cxnSpMkLst>
        </pc:cxnChg>
        <pc:cxnChg chg="add mod ord topLvl">
          <ac:chgData name="Trauer" userId="aa8b9dc3-a64d-4cc6-bd4f-f46eb5f096c9" providerId="ADAL" clId="{5B76CEF1-A6E3-49E3-8F70-F81E9495ECB4}" dt="2023-08-14T17:06:22.306" v="6225"/>
          <ac:cxnSpMkLst>
            <pc:docMk/>
            <pc:sldMk cId="3742937504" sldId="561"/>
            <ac:cxnSpMk id="120" creationId="{34790B7E-3A65-988B-FAF6-3EFBF9773A2D}"/>
          </ac:cxnSpMkLst>
        </pc:cxnChg>
        <pc:cxnChg chg="add mod ord topLvl">
          <ac:chgData name="Trauer" userId="aa8b9dc3-a64d-4cc6-bd4f-f46eb5f096c9" providerId="ADAL" clId="{5B76CEF1-A6E3-49E3-8F70-F81E9495ECB4}" dt="2023-08-14T17:06:22.305" v="6223"/>
          <ac:cxnSpMkLst>
            <pc:docMk/>
            <pc:sldMk cId="3742937504" sldId="561"/>
            <ac:cxnSpMk id="121" creationId="{B3B99961-7BFF-A322-6971-F8AAFB6A0FEB}"/>
          </ac:cxnSpMkLst>
        </pc:cxnChg>
        <pc:cxnChg chg="add mod ord topLvl">
          <ac:chgData name="Trauer" userId="aa8b9dc3-a64d-4cc6-bd4f-f46eb5f096c9" providerId="ADAL" clId="{5B76CEF1-A6E3-49E3-8F70-F81E9495ECB4}" dt="2023-08-14T17:06:22.304" v="6221"/>
          <ac:cxnSpMkLst>
            <pc:docMk/>
            <pc:sldMk cId="3742937504" sldId="561"/>
            <ac:cxnSpMk id="122" creationId="{62275E2C-E30F-893A-B136-FB7E28C9767B}"/>
          </ac:cxnSpMkLst>
        </pc:cxnChg>
        <pc:cxnChg chg="add del mod modVis">
          <ac:chgData name="Trauer" userId="aa8b9dc3-a64d-4cc6-bd4f-f46eb5f096c9" providerId="ADAL" clId="{5B76CEF1-A6E3-49E3-8F70-F81E9495ECB4}" dt="2023-08-14T17:05:48.868" v="4321"/>
          <ac:cxnSpMkLst>
            <pc:docMk/>
            <pc:sldMk cId="3742937504" sldId="561"/>
            <ac:cxnSpMk id="123" creationId="{5D71E266-79CC-6FFB-74F0-B2715E74DFD9}"/>
          </ac:cxnSpMkLst>
        </pc:cxnChg>
        <pc:cxnChg chg="add mod ord topLvl">
          <ac:chgData name="Trauer" userId="aa8b9dc3-a64d-4cc6-bd4f-f46eb5f096c9" providerId="ADAL" clId="{5B76CEF1-A6E3-49E3-8F70-F81E9495ECB4}" dt="2023-08-14T17:06:22.303" v="6219"/>
          <ac:cxnSpMkLst>
            <pc:docMk/>
            <pc:sldMk cId="3742937504" sldId="561"/>
            <ac:cxnSpMk id="124" creationId="{517C1AF4-BDA2-A545-89D8-497EC5243C0D}"/>
          </ac:cxnSpMkLst>
        </pc:cxnChg>
        <pc:cxnChg chg="add del mod modVis">
          <ac:chgData name="Trauer" userId="aa8b9dc3-a64d-4cc6-bd4f-f46eb5f096c9" providerId="ADAL" clId="{5B76CEF1-A6E3-49E3-8F70-F81E9495ECB4}" dt="2023-08-14T17:05:48.877" v="4331"/>
          <ac:cxnSpMkLst>
            <pc:docMk/>
            <pc:sldMk cId="3742937504" sldId="561"/>
            <ac:cxnSpMk id="125" creationId="{7916EAE7-7C08-801D-5670-547F2598F1FB}"/>
          </ac:cxnSpMkLst>
        </pc:cxnChg>
        <pc:cxnChg chg="add mod ord topLvl">
          <ac:chgData name="Trauer" userId="aa8b9dc3-a64d-4cc6-bd4f-f46eb5f096c9" providerId="ADAL" clId="{5B76CEF1-A6E3-49E3-8F70-F81E9495ECB4}" dt="2023-08-14T17:06:22.302" v="6217"/>
          <ac:cxnSpMkLst>
            <pc:docMk/>
            <pc:sldMk cId="3742937504" sldId="561"/>
            <ac:cxnSpMk id="126" creationId="{455CB695-1771-0958-9174-DDC14C94ED23}"/>
          </ac:cxnSpMkLst>
        </pc:cxnChg>
        <pc:cxnChg chg="add mod ord topLvl">
          <ac:chgData name="Trauer" userId="aa8b9dc3-a64d-4cc6-bd4f-f46eb5f096c9" providerId="ADAL" clId="{5B76CEF1-A6E3-49E3-8F70-F81E9495ECB4}" dt="2023-08-14T17:06:22.301" v="6215"/>
          <ac:cxnSpMkLst>
            <pc:docMk/>
            <pc:sldMk cId="3742937504" sldId="561"/>
            <ac:cxnSpMk id="127" creationId="{04F360A8-09B8-03EF-16A7-4209DFE1BBD6}"/>
          </ac:cxnSpMkLst>
        </pc:cxnChg>
        <pc:cxnChg chg="add mod ord topLvl">
          <ac:chgData name="Trauer" userId="aa8b9dc3-a64d-4cc6-bd4f-f46eb5f096c9" providerId="ADAL" clId="{5B76CEF1-A6E3-49E3-8F70-F81E9495ECB4}" dt="2023-08-14T17:06:22.300" v="6213"/>
          <ac:cxnSpMkLst>
            <pc:docMk/>
            <pc:sldMk cId="3742937504" sldId="561"/>
            <ac:cxnSpMk id="128" creationId="{E44A3B86-8CCB-E000-62EB-901992C955A4}"/>
          </ac:cxnSpMkLst>
        </pc:cxnChg>
        <pc:cxnChg chg="add mod ord topLvl">
          <ac:chgData name="Trauer" userId="aa8b9dc3-a64d-4cc6-bd4f-f46eb5f096c9" providerId="ADAL" clId="{5B76CEF1-A6E3-49E3-8F70-F81E9495ECB4}" dt="2023-08-14T17:06:22.299" v="6211"/>
          <ac:cxnSpMkLst>
            <pc:docMk/>
            <pc:sldMk cId="3742937504" sldId="561"/>
            <ac:cxnSpMk id="129" creationId="{95DFC489-3455-954D-87B8-3106107E7900}"/>
          </ac:cxnSpMkLst>
        </pc:cxnChg>
        <pc:cxnChg chg="add mod ord topLvl">
          <ac:chgData name="Trauer" userId="aa8b9dc3-a64d-4cc6-bd4f-f46eb5f096c9" providerId="ADAL" clId="{5B76CEF1-A6E3-49E3-8F70-F81E9495ECB4}" dt="2023-08-14T17:06:22.298" v="6209"/>
          <ac:cxnSpMkLst>
            <pc:docMk/>
            <pc:sldMk cId="3742937504" sldId="561"/>
            <ac:cxnSpMk id="130" creationId="{BF1784AA-E2DF-85CB-A5F9-3A48882E26D2}"/>
          </ac:cxnSpMkLst>
        </pc:cxnChg>
        <pc:cxnChg chg="add mod ord topLvl">
          <ac:chgData name="Trauer" userId="aa8b9dc3-a64d-4cc6-bd4f-f46eb5f096c9" providerId="ADAL" clId="{5B76CEF1-A6E3-49E3-8F70-F81E9495ECB4}" dt="2023-08-14T17:06:22.297" v="6207"/>
          <ac:cxnSpMkLst>
            <pc:docMk/>
            <pc:sldMk cId="3742937504" sldId="561"/>
            <ac:cxnSpMk id="131" creationId="{B6339444-4012-4146-2F74-F994993183B8}"/>
          </ac:cxnSpMkLst>
        </pc:cxnChg>
        <pc:cxnChg chg="add del mod modVis">
          <ac:chgData name="Trauer" userId="aa8b9dc3-a64d-4cc6-bd4f-f46eb5f096c9" providerId="ADAL" clId="{5B76CEF1-A6E3-49E3-8F70-F81E9495ECB4}" dt="2023-08-14T17:05:48.896" v="4361"/>
          <ac:cxnSpMkLst>
            <pc:docMk/>
            <pc:sldMk cId="3742937504" sldId="561"/>
            <ac:cxnSpMk id="132" creationId="{A0A260C6-F65B-F774-9122-DAEAEA431499}"/>
          </ac:cxnSpMkLst>
        </pc:cxnChg>
        <pc:cxnChg chg="add mod ord topLvl">
          <ac:chgData name="Trauer" userId="aa8b9dc3-a64d-4cc6-bd4f-f46eb5f096c9" providerId="ADAL" clId="{5B76CEF1-A6E3-49E3-8F70-F81E9495ECB4}" dt="2023-08-14T17:06:22.296" v="6205"/>
          <ac:cxnSpMkLst>
            <pc:docMk/>
            <pc:sldMk cId="3742937504" sldId="561"/>
            <ac:cxnSpMk id="133" creationId="{168BE655-1EE3-F1D8-8124-FAC2CA2C6548}"/>
          </ac:cxnSpMkLst>
        </pc:cxnChg>
        <pc:cxnChg chg="add del mod modVis">
          <ac:chgData name="Trauer" userId="aa8b9dc3-a64d-4cc6-bd4f-f46eb5f096c9" providerId="ADAL" clId="{5B76CEF1-A6E3-49E3-8F70-F81E9495ECB4}" dt="2023-08-14T17:05:48.902" v="4371"/>
          <ac:cxnSpMkLst>
            <pc:docMk/>
            <pc:sldMk cId="3742937504" sldId="561"/>
            <ac:cxnSpMk id="134" creationId="{A1A3E9D1-4A72-A13B-0C17-43DFB1994E91}"/>
          </ac:cxnSpMkLst>
        </pc:cxnChg>
        <pc:cxnChg chg="add mod ord topLvl">
          <ac:chgData name="Trauer" userId="aa8b9dc3-a64d-4cc6-bd4f-f46eb5f096c9" providerId="ADAL" clId="{5B76CEF1-A6E3-49E3-8F70-F81E9495ECB4}" dt="2023-08-14T17:06:22.295" v="6203"/>
          <ac:cxnSpMkLst>
            <pc:docMk/>
            <pc:sldMk cId="3742937504" sldId="561"/>
            <ac:cxnSpMk id="135" creationId="{87A31C49-C7F2-8D66-260A-E555833F0463}"/>
          </ac:cxnSpMkLst>
        </pc:cxnChg>
        <pc:cxnChg chg="add mod ord topLvl">
          <ac:chgData name="Trauer" userId="aa8b9dc3-a64d-4cc6-bd4f-f46eb5f096c9" providerId="ADAL" clId="{5B76CEF1-A6E3-49E3-8F70-F81E9495ECB4}" dt="2023-08-14T17:06:22.294" v="6201"/>
          <ac:cxnSpMkLst>
            <pc:docMk/>
            <pc:sldMk cId="3742937504" sldId="561"/>
            <ac:cxnSpMk id="136" creationId="{41F4D8FC-B9CE-FBE3-747B-12F40B7C26A6}"/>
          </ac:cxnSpMkLst>
        </pc:cxnChg>
        <pc:cxnChg chg="add mod ord topLvl">
          <ac:chgData name="Trauer" userId="aa8b9dc3-a64d-4cc6-bd4f-f46eb5f096c9" providerId="ADAL" clId="{5B76CEF1-A6E3-49E3-8F70-F81E9495ECB4}" dt="2023-08-14T17:06:22.293" v="6199"/>
          <ac:cxnSpMkLst>
            <pc:docMk/>
            <pc:sldMk cId="3742937504" sldId="561"/>
            <ac:cxnSpMk id="137" creationId="{D63E0CE1-2968-F10A-5191-CAC333E94E65}"/>
          </ac:cxnSpMkLst>
        </pc:cxnChg>
        <pc:cxnChg chg="add mod ord topLvl">
          <ac:chgData name="Trauer" userId="aa8b9dc3-a64d-4cc6-bd4f-f46eb5f096c9" providerId="ADAL" clId="{5B76CEF1-A6E3-49E3-8F70-F81E9495ECB4}" dt="2023-08-14T17:06:22.292" v="6197"/>
          <ac:cxnSpMkLst>
            <pc:docMk/>
            <pc:sldMk cId="3742937504" sldId="561"/>
            <ac:cxnSpMk id="138" creationId="{69C56708-C9DA-D434-9E5C-8C1F3E39ECC3}"/>
          </ac:cxnSpMkLst>
        </pc:cxnChg>
        <pc:cxnChg chg="add mod ord topLvl">
          <ac:chgData name="Trauer" userId="aa8b9dc3-a64d-4cc6-bd4f-f46eb5f096c9" providerId="ADAL" clId="{5B76CEF1-A6E3-49E3-8F70-F81E9495ECB4}" dt="2023-08-14T17:06:22.292" v="6195"/>
          <ac:cxnSpMkLst>
            <pc:docMk/>
            <pc:sldMk cId="3742937504" sldId="561"/>
            <ac:cxnSpMk id="139" creationId="{53A6CB7A-61AE-6A86-CCB6-D8E21DE80A09}"/>
          </ac:cxnSpMkLst>
        </pc:cxnChg>
        <pc:cxnChg chg="add del mod modVis">
          <ac:chgData name="Trauer" userId="aa8b9dc3-a64d-4cc6-bd4f-f46eb5f096c9" providerId="ADAL" clId="{5B76CEF1-A6E3-49E3-8F70-F81E9495ECB4}" dt="2023-08-14T17:05:48.920" v="4397"/>
          <ac:cxnSpMkLst>
            <pc:docMk/>
            <pc:sldMk cId="3742937504" sldId="561"/>
            <ac:cxnSpMk id="140" creationId="{3BBBD6A4-383C-B15C-D7FD-5C800A1CEAF1}"/>
          </ac:cxnSpMkLst>
        </pc:cxnChg>
        <pc:cxnChg chg="add mod ord topLvl">
          <ac:chgData name="Trauer" userId="aa8b9dc3-a64d-4cc6-bd4f-f46eb5f096c9" providerId="ADAL" clId="{5B76CEF1-A6E3-49E3-8F70-F81E9495ECB4}" dt="2023-08-14T17:06:22.291" v="6193"/>
          <ac:cxnSpMkLst>
            <pc:docMk/>
            <pc:sldMk cId="3742937504" sldId="561"/>
            <ac:cxnSpMk id="141" creationId="{A466E284-5B44-1CCE-1032-3FFC59BF83E1}"/>
          </ac:cxnSpMkLst>
        </pc:cxnChg>
        <pc:cxnChg chg="add del mod modVis">
          <ac:chgData name="Trauer" userId="aa8b9dc3-a64d-4cc6-bd4f-f46eb5f096c9" providerId="ADAL" clId="{5B76CEF1-A6E3-49E3-8F70-F81E9495ECB4}" dt="2023-08-14T17:05:48.926" v="4407"/>
          <ac:cxnSpMkLst>
            <pc:docMk/>
            <pc:sldMk cId="3742937504" sldId="561"/>
            <ac:cxnSpMk id="142" creationId="{6FA32828-8AE3-F874-9DA6-422426924674}"/>
          </ac:cxnSpMkLst>
        </pc:cxnChg>
        <pc:cxnChg chg="add mod ord topLvl">
          <ac:chgData name="Trauer" userId="aa8b9dc3-a64d-4cc6-bd4f-f46eb5f096c9" providerId="ADAL" clId="{5B76CEF1-A6E3-49E3-8F70-F81E9495ECB4}" dt="2023-08-14T17:06:22.290" v="6191"/>
          <ac:cxnSpMkLst>
            <pc:docMk/>
            <pc:sldMk cId="3742937504" sldId="561"/>
            <ac:cxnSpMk id="143" creationId="{7180E942-739F-E471-054B-A56C9C5406E1}"/>
          </ac:cxnSpMkLst>
        </pc:cxnChg>
        <pc:cxnChg chg="add del mod modVis">
          <ac:chgData name="Trauer" userId="aa8b9dc3-a64d-4cc6-bd4f-f46eb5f096c9" providerId="ADAL" clId="{5B76CEF1-A6E3-49E3-8F70-F81E9495ECB4}" dt="2023-08-14T17:05:48.934" v="4417"/>
          <ac:cxnSpMkLst>
            <pc:docMk/>
            <pc:sldMk cId="3742937504" sldId="561"/>
            <ac:cxnSpMk id="144" creationId="{DD11493A-BAE9-880D-CFC3-1FD325FD74ED}"/>
          </ac:cxnSpMkLst>
        </pc:cxnChg>
        <pc:cxnChg chg="add mod ord topLvl">
          <ac:chgData name="Trauer" userId="aa8b9dc3-a64d-4cc6-bd4f-f46eb5f096c9" providerId="ADAL" clId="{5B76CEF1-A6E3-49E3-8F70-F81E9495ECB4}" dt="2023-08-14T17:06:22.289" v="6189"/>
          <ac:cxnSpMkLst>
            <pc:docMk/>
            <pc:sldMk cId="3742937504" sldId="561"/>
            <ac:cxnSpMk id="145" creationId="{5FED5CFD-66F4-9747-F87C-782CCA6BE979}"/>
          </ac:cxnSpMkLst>
        </pc:cxnChg>
        <pc:cxnChg chg="add mod ord topLvl">
          <ac:chgData name="Trauer" userId="aa8b9dc3-a64d-4cc6-bd4f-f46eb5f096c9" providerId="ADAL" clId="{5B76CEF1-A6E3-49E3-8F70-F81E9495ECB4}" dt="2023-08-14T17:06:22.288" v="6187"/>
          <ac:cxnSpMkLst>
            <pc:docMk/>
            <pc:sldMk cId="3742937504" sldId="561"/>
            <ac:cxnSpMk id="146" creationId="{7D4BBCFE-07D2-0CDF-6119-8B2A34942F6C}"/>
          </ac:cxnSpMkLst>
        </pc:cxnChg>
        <pc:cxnChg chg="add mod ord topLvl">
          <ac:chgData name="Trauer" userId="aa8b9dc3-a64d-4cc6-bd4f-f46eb5f096c9" providerId="ADAL" clId="{5B76CEF1-A6E3-49E3-8F70-F81E9495ECB4}" dt="2023-08-14T17:06:22.287" v="6185"/>
          <ac:cxnSpMkLst>
            <pc:docMk/>
            <pc:sldMk cId="3742937504" sldId="561"/>
            <ac:cxnSpMk id="147" creationId="{018935C5-DF8C-9096-22F6-280A21EE80F8}"/>
          </ac:cxnSpMkLst>
        </pc:cxnChg>
        <pc:cxnChg chg="add mod ord topLvl">
          <ac:chgData name="Trauer" userId="aa8b9dc3-a64d-4cc6-bd4f-f46eb5f096c9" providerId="ADAL" clId="{5B76CEF1-A6E3-49E3-8F70-F81E9495ECB4}" dt="2023-08-14T17:06:22.286" v="6183"/>
          <ac:cxnSpMkLst>
            <pc:docMk/>
            <pc:sldMk cId="3742937504" sldId="561"/>
            <ac:cxnSpMk id="148" creationId="{10510C9C-1451-D40D-9B81-CB4DE19E66EA}"/>
          </ac:cxnSpMkLst>
        </pc:cxnChg>
        <pc:cxnChg chg="add mod ord topLvl">
          <ac:chgData name="Trauer" userId="aa8b9dc3-a64d-4cc6-bd4f-f46eb5f096c9" providerId="ADAL" clId="{5B76CEF1-A6E3-49E3-8F70-F81E9495ECB4}" dt="2023-08-14T17:06:22.285" v="6181"/>
          <ac:cxnSpMkLst>
            <pc:docMk/>
            <pc:sldMk cId="3742937504" sldId="561"/>
            <ac:cxnSpMk id="149" creationId="{343AC9D9-5D7C-0F6D-9744-FA5792A374CD}"/>
          </ac:cxnSpMkLst>
        </pc:cxnChg>
        <pc:cxnChg chg="add mod ord topLvl">
          <ac:chgData name="Trauer" userId="aa8b9dc3-a64d-4cc6-bd4f-f46eb5f096c9" providerId="ADAL" clId="{5B76CEF1-A6E3-49E3-8F70-F81E9495ECB4}" dt="2023-08-14T17:06:22.284" v="6179"/>
          <ac:cxnSpMkLst>
            <pc:docMk/>
            <pc:sldMk cId="3742937504" sldId="561"/>
            <ac:cxnSpMk id="150" creationId="{D10FE25A-3C1E-BEB7-52A1-1E9C139D13F4}"/>
          </ac:cxnSpMkLst>
        </pc:cxnChg>
        <pc:cxnChg chg="add del mod modVis">
          <ac:chgData name="Trauer" userId="aa8b9dc3-a64d-4cc6-bd4f-f46eb5f096c9" providerId="ADAL" clId="{5B76CEF1-A6E3-49E3-8F70-F81E9495ECB4}" dt="2023-08-14T17:05:48.959" v="4447"/>
          <ac:cxnSpMkLst>
            <pc:docMk/>
            <pc:sldMk cId="3742937504" sldId="561"/>
            <ac:cxnSpMk id="151" creationId="{7596AD6B-992F-055C-5703-71000064E59E}"/>
          </ac:cxnSpMkLst>
        </pc:cxnChg>
        <pc:cxnChg chg="add mod ord topLvl">
          <ac:chgData name="Trauer" userId="aa8b9dc3-a64d-4cc6-bd4f-f46eb5f096c9" providerId="ADAL" clId="{5B76CEF1-A6E3-49E3-8F70-F81E9495ECB4}" dt="2023-08-14T17:06:22.283" v="6177"/>
          <ac:cxnSpMkLst>
            <pc:docMk/>
            <pc:sldMk cId="3742937504" sldId="561"/>
            <ac:cxnSpMk id="152" creationId="{E74442FF-0383-9261-2C4C-0DFFB3325135}"/>
          </ac:cxnSpMkLst>
        </pc:cxnChg>
        <pc:cxnChg chg="add del mod modVis">
          <ac:chgData name="Trauer" userId="aa8b9dc3-a64d-4cc6-bd4f-f46eb5f096c9" providerId="ADAL" clId="{5B76CEF1-A6E3-49E3-8F70-F81E9495ECB4}" dt="2023-08-14T17:05:48.968" v="4457"/>
          <ac:cxnSpMkLst>
            <pc:docMk/>
            <pc:sldMk cId="3742937504" sldId="561"/>
            <ac:cxnSpMk id="153" creationId="{FDF8A6A7-7A36-579D-8346-1C02235B1C12}"/>
          </ac:cxnSpMkLst>
        </pc:cxnChg>
        <pc:cxnChg chg="add mod ord topLvl">
          <ac:chgData name="Trauer" userId="aa8b9dc3-a64d-4cc6-bd4f-f46eb5f096c9" providerId="ADAL" clId="{5B76CEF1-A6E3-49E3-8F70-F81E9495ECB4}" dt="2023-08-14T17:06:22.282" v="6175"/>
          <ac:cxnSpMkLst>
            <pc:docMk/>
            <pc:sldMk cId="3742937504" sldId="561"/>
            <ac:cxnSpMk id="154" creationId="{CEC31C53-44F9-7280-36EB-6F049C933E9A}"/>
          </ac:cxnSpMkLst>
        </pc:cxnChg>
        <pc:cxnChg chg="add mod ord topLvl">
          <ac:chgData name="Trauer" userId="aa8b9dc3-a64d-4cc6-bd4f-f46eb5f096c9" providerId="ADAL" clId="{5B76CEF1-A6E3-49E3-8F70-F81E9495ECB4}" dt="2023-08-14T17:06:22.281" v="6173"/>
          <ac:cxnSpMkLst>
            <pc:docMk/>
            <pc:sldMk cId="3742937504" sldId="561"/>
            <ac:cxnSpMk id="155" creationId="{4221C5B6-5A1A-4F25-E80B-BF80ADA15EA6}"/>
          </ac:cxnSpMkLst>
        </pc:cxnChg>
        <pc:cxnChg chg="add mod ord topLvl">
          <ac:chgData name="Trauer" userId="aa8b9dc3-a64d-4cc6-bd4f-f46eb5f096c9" providerId="ADAL" clId="{5B76CEF1-A6E3-49E3-8F70-F81E9495ECB4}" dt="2023-08-14T17:06:22.280" v="6171"/>
          <ac:cxnSpMkLst>
            <pc:docMk/>
            <pc:sldMk cId="3742937504" sldId="561"/>
            <ac:cxnSpMk id="156" creationId="{56520435-ED6B-19FD-D874-D90C588A2356}"/>
          </ac:cxnSpMkLst>
        </pc:cxnChg>
        <pc:cxnChg chg="add mod ord topLvl">
          <ac:chgData name="Trauer" userId="aa8b9dc3-a64d-4cc6-bd4f-f46eb5f096c9" providerId="ADAL" clId="{5B76CEF1-A6E3-49E3-8F70-F81E9495ECB4}" dt="2023-08-14T17:06:22.280" v="6169"/>
          <ac:cxnSpMkLst>
            <pc:docMk/>
            <pc:sldMk cId="3742937504" sldId="561"/>
            <ac:cxnSpMk id="157" creationId="{34A73DA2-B32A-FC68-C77F-21CB32882124}"/>
          </ac:cxnSpMkLst>
        </pc:cxnChg>
        <pc:cxnChg chg="add mod ord topLvl">
          <ac:chgData name="Trauer" userId="aa8b9dc3-a64d-4cc6-bd4f-f46eb5f096c9" providerId="ADAL" clId="{5B76CEF1-A6E3-49E3-8F70-F81E9495ECB4}" dt="2023-08-14T17:06:22.278" v="6167"/>
          <ac:cxnSpMkLst>
            <pc:docMk/>
            <pc:sldMk cId="3742937504" sldId="561"/>
            <ac:cxnSpMk id="158" creationId="{CD8E3A56-585E-C0AC-E8C3-3D2D3BC55E24}"/>
          </ac:cxnSpMkLst>
        </pc:cxnChg>
        <pc:cxnChg chg="add mod ord topLvl">
          <ac:chgData name="Trauer" userId="aa8b9dc3-a64d-4cc6-bd4f-f46eb5f096c9" providerId="ADAL" clId="{5B76CEF1-A6E3-49E3-8F70-F81E9495ECB4}" dt="2023-08-14T17:06:22.277" v="6165"/>
          <ac:cxnSpMkLst>
            <pc:docMk/>
            <pc:sldMk cId="3742937504" sldId="561"/>
            <ac:cxnSpMk id="159" creationId="{C20C77D0-D5B4-D3CE-4CC0-927AA8BBF39D}"/>
          </ac:cxnSpMkLst>
        </pc:cxnChg>
        <pc:cxnChg chg="add del mod modVis">
          <ac:chgData name="Trauer" userId="aa8b9dc3-a64d-4cc6-bd4f-f46eb5f096c9" providerId="ADAL" clId="{5B76CEF1-A6E3-49E3-8F70-F81E9495ECB4}" dt="2023-08-14T17:05:48.988" v="4487"/>
          <ac:cxnSpMkLst>
            <pc:docMk/>
            <pc:sldMk cId="3742937504" sldId="561"/>
            <ac:cxnSpMk id="160" creationId="{4045E31E-4982-D5DF-0376-BCCAF7C48101}"/>
          </ac:cxnSpMkLst>
        </pc:cxnChg>
        <pc:cxnChg chg="add mod ord topLvl">
          <ac:chgData name="Trauer" userId="aa8b9dc3-a64d-4cc6-bd4f-f46eb5f096c9" providerId="ADAL" clId="{5B76CEF1-A6E3-49E3-8F70-F81E9495ECB4}" dt="2023-08-14T17:06:22.277" v="6163"/>
          <ac:cxnSpMkLst>
            <pc:docMk/>
            <pc:sldMk cId="3742937504" sldId="561"/>
            <ac:cxnSpMk id="161" creationId="{5007308F-75D7-97BD-CFA5-D471549918A2}"/>
          </ac:cxnSpMkLst>
        </pc:cxnChg>
        <pc:cxnChg chg="add del mod modVis">
          <ac:chgData name="Trauer" userId="aa8b9dc3-a64d-4cc6-bd4f-f46eb5f096c9" providerId="ADAL" clId="{5B76CEF1-A6E3-49E3-8F70-F81E9495ECB4}" dt="2023-08-14T17:05:48.999" v="4497"/>
          <ac:cxnSpMkLst>
            <pc:docMk/>
            <pc:sldMk cId="3742937504" sldId="561"/>
            <ac:cxnSpMk id="162" creationId="{B2F5586A-F6D8-2CA5-D2FD-EDBD3F8839C8}"/>
          </ac:cxnSpMkLst>
        </pc:cxnChg>
        <pc:cxnChg chg="add mod ord topLvl">
          <ac:chgData name="Trauer" userId="aa8b9dc3-a64d-4cc6-bd4f-f46eb5f096c9" providerId="ADAL" clId="{5B76CEF1-A6E3-49E3-8F70-F81E9495ECB4}" dt="2023-08-14T17:06:22.276" v="6161"/>
          <ac:cxnSpMkLst>
            <pc:docMk/>
            <pc:sldMk cId="3742937504" sldId="561"/>
            <ac:cxnSpMk id="163" creationId="{7E79B056-3807-1C7C-2583-AA9B30314D75}"/>
          </ac:cxnSpMkLst>
        </pc:cxnChg>
        <pc:cxnChg chg="add mod ord topLvl">
          <ac:chgData name="Trauer" userId="aa8b9dc3-a64d-4cc6-bd4f-f46eb5f096c9" providerId="ADAL" clId="{5B76CEF1-A6E3-49E3-8F70-F81E9495ECB4}" dt="2023-08-14T17:06:22.275" v="6159"/>
          <ac:cxnSpMkLst>
            <pc:docMk/>
            <pc:sldMk cId="3742937504" sldId="561"/>
            <ac:cxnSpMk id="164" creationId="{508EED45-8E15-1606-5119-4EE69A59C7FC}"/>
          </ac:cxnSpMkLst>
        </pc:cxnChg>
        <pc:cxnChg chg="add mod ord topLvl">
          <ac:chgData name="Trauer" userId="aa8b9dc3-a64d-4cc6-bd4f-f46eb5f096c9" providerId="ADAL" clId="{5B76CEF1-A6E3-49E3-8F70-F81E9495ECB4}" dt="2023-08-14T17:06:22.274" v="6157"/>
          <ac:cxnSpMkLst>
            <pc:docMk/>
            <pc:sldMk cId="3742937504" sldId="561"/>
            <ac:cxnSpMk id="165" creationId="{26FD4C67-9E82-57C7-ADD5-FF37C2FF6C10}"/>
          </ac:cxnSpMkLst>
        </pc:cxnChg>
        <pc:cxnChg chg="add mod ord topLvl">
          <ac:chgData name="Trauer" userId="aa8b9dc3-a64d-4cc6-bd4f-f46eb5f096c9" providerId="ADAL" clId="{5B76CEF1-A6E3-49E3-8F70-F81E9495ECB4}" dt="2023-08-14T17:06:22.273" v="6155"/>
          <ac:cxnSpMkLst>
            <pc:docMk/>
            <pc:sldMk cId="3742937504" sldId="561"/>
            <ac:cxnSpMk id="166" creationId="{61D81486-D487-CCFC-4B3D-DA691CCEF17D}"/>
          </ac:cxnSpMkLst>
        </pc:cxnChg>
        <pc:cxnChg chg="add mod ord topLvl">
          <ac:chgData name="Trauer" userId="aa8b9dc3-a64d-4cc6-bd4f-f46eb5f096c9" providerId="ADAL" clId="{5B76CEF1-A6E3-49E3-8F70-F81E9495ECB4}" dt="2023-08-14T17:06:22.272" v="6153"/>
          <ac:cxnSpMkLst>
            <pc:docMk/>
            <pc:sldMk cId="3742937504" sldId="561"/>
            <ac:cxnSpMk id="167" creationId="{40D6A7DE-E075-0D9C-5AD4-C7C143BD8AF7}"/>
          </ac:cxnSpMkLst>
        </pc:cxnChg>
        <pc:cxnChg chg="add mod ord topLvl">
          <ac:chgData name="Trauer" userId="aa8b9dc3-a64d-4cc6-bd4f-f46eb5f096c9" providerId="ADAL" clId="{5B76CEF1-A6E3-49E3-8F70-F81E9495ECB4}" dt="2023-08-14T17:06:22.271" v="6151"/>
          <ac:cxnSpMkLst>
            <pc:docMk/>
            <pc:sldMk cId="3742937504" sldId="561"/>
            <ac:cxnSpMk id="168" creationId="{140DB7ED-042A-643F-D5EB-AA18F9493440}"/>
          </ac:cxnSpMkLst>
        </pc:cxnChg>
        <pc:cxnChg chg="add del mod modVis">
          <ac:chgData name="Trauer" userId="aa8b9dc3-a64d-4cc6-bd4f-f46eb5f096c9" providerId="ADAL" clId="{5B76CEF1-A6E3-49E3-8F70-F81E9495ECB4}" dt="2023-08-14T17:05:49.018" v="4527"/>
          <ac:cxnSpMkLst>
            <pc:docMk/>
            <pc:sldMk cId="3742937504" sldId="561"/>
            <ac:cxnSpMk id="169" creationId="{EB49B6F4-26A5-B401-2230-63EEA5C40056}"/>
          </ac:cxnSpMkLst>
        </pc:cxnChg>
        <pc:cxnChg chg="add mod ord topLvl">
          <ac:chgData name="Trauer" userId="aa8b9dc3-a64d-4cc6-bd4f-f46eb5f096c9" providerId="ADAL" clId="{5B76CEF1-A6E3-49E3-8F70-F81E9495ECB4}" dt="2023-08-14T17:06:22.270" v="6149"/>
          <ac:cxnSpMkLst>
            <pc:docMk/>
            <pc:sldMk cId="3742937504" sldId="561"/>
            <ac:cxnSpMk id="170" creationId="{EED45EC6-A2E4-491A-DD50-806C48016A84}"/>
          </ac:cxnSpMkLst>
        </pc:cxnChg>
        <pc:cxnChg chg="add del mod modVis">
          <ac:chgData name="Trauer" userId="aa8b9dc3-a64d-4cc6-bd4f-f46eb5f096c9" providerId="ADAL" clId="{5B76CEF1-A6E3-49E3-8F70-F81E9495ECB4}" dt="2023-08-14T17:05:49.026" v="4537"/>
          <ac:cxnSpMkLst>
            <pc:docMk/>
            <pc:sldMk cId="3742937504" sldId="561"/>
            <ac:cxnSpMk id="171" creationId="{0C071994-3B05-5DF5-6DA8-A1DE3BA04A94}"/>
          </ac:cxnSpMkLst>
        </pc:cxnChg>
        <pc:cxnChg chg="add mod ord topLvl">
          <ac:chgData name="Trauer" userId="aa8b9dc3-a64d-4cc6-bd4f-f46eb5f096c9" providerId="ADAL" clId="{5B76CEF1-A6E3-49E3-8F70-F81E9495ECB4}" dt="2023-08-14T17:06:22.268" v="6147"/>
          <ac:cxnSpMkLst>
            <pc:docMk/>
            <pc:sldMk cId="3742937504" sldId="561"/>
            <ac:cxnSpMk id="172" creationId="{6F52E28F-E440-E4E1-1BEF-DCA1C9B94BD4}"/>
          </ac:cxnSpMkLst>
        </pc:cxnChg>
        <pc:cxnChg chg="add mod ord topLvl">
          <ac:chgData name="Trauer" userId="aa8b9dc3-a64d-4cc6-bd4f-f46eb5f096c9" providerId="ADAL" clId="{5B76CEF1-A6E3-49E3-8F70-F81E9495ECB4}" dt="2023-08-14T17:06:22.268" v="6145"/>
          <ac:cxnSpMkLst>
            <pc:docMk/>
            <pc:sldMk cId="3742937504" sldId="561"/>
            <ac:cxnSpMk id="173" creationId="{4E3D6B67-87D3-6EB6-120B-631BE0D75AE3}"/>
          </ac:cxnSpMkLst>
        </pc:cxnChg>
        <pc:cxnChg chg="add mod ord topLvl">
          <ac:chgData name="Trauer" userId="aa8b9dc3-a64d-4cc6-bd4f-f46eb5f096c9" providerId="ADAL" clId="{5B76CEF1-A6E3-49E3-8F70-F81E9495ECB4}" dt="2023-08-14T17:06:22.267" v="6143"/>
          <ac:cxnSpMkLst>
            <pc:docMk/>
            <pc:sldMk cId="3742937504" sldId="561"/>
            <ac:cxnSpMk id="174" creationId="{13947AC2-6FBB-9196-788B-AF71DE68DE65}"/>
          </ac:cxnSpMkLst>
        </pc:cxnChg>
        <pc:cxnChg chg="add mod ord topLvl">
          <ac:chgData name="Trauer" userId="aa8b9dc3-a64d-4cc6-bd4f-f46eb5f096c9" providerId="ADAL" clId="{5B76CEF1-A6E3-49E3-8F70-F81E9495ECB4}" dt="2023-08-14T17:06:22.266" v="6141"/>
          <ac:cxnSpMkLst>
            <pc:docMk/>
            <pc:sldMk cId="3742937504" sldId="561"/>
            <ac:cxnSpMk id="175" creationId="{6D470F5D-7EC6-8BEB-F5B0-771DE1FFC201}"/>
          </ac:cxnSpMkLst>
        </pc:cxnChg>
        <pc:cxnChg chg="add mod ord topLvl">
          <ac:chgData name="Trauer" userId="aa8b9dc3-a64d-4cc6-bd4f-f46eb5f096c9" providerId="ADAL" clId="{5B76CEF1-A6E3-49E3-8F70-F81E9495ECB4}" dt="2023-08-14T17:06:22.265" v="6139"/>
          <ac:cxnSpMkLst>
            <pc:docMk/>
            <pc:sldMk cId="3742937504" sldId="561"/>
            <ac:cxnSpMk id="176" creationId="{763BF3D7-4699-FBDC-FB9B-411FFA377EBE}"/>
          </ac:cxnSpMkLst>
        </pc:cxnChg>
        <pc:cxnChg chg="add mod ord topLvl">
          <ac:chgData name="Trauer" userId="aa8b9dc3-a64d-4cc6-bd4f-f46eb5f096c9" providerId="ADAL" clId="{5B76CEF1-A6E3-49E3-8F70-F81E9495ECB4}" dt="2023-08-14T17:06:22.264" v="6137"/>
          <ac:cxnSpMkLst>
            <pc:docMk/>
            <pc:sldMk cId="3742937504" sldId="561"/>
            <ac:cxnSpMk id="177" creationId="{F103244E-F30A-C856-2EF3-FE936E241050}"/>
          </ac:cxnSpMkLst>
        </pc:cxnChg>
        <pc:cxnChg chg="add del mod modVis">
          <ac:chgData name="Trauer" userId="aa8b9dc3-a64d-4cc6-bd4f-f46eb5f096c9" providerId="ADAL" clId="{5B76CEF1-A6E3-49E3-8F70-F81E9495ECB4}" dt="2023-08-14T17:05:49.052" v="4567"/>
          <ac:cxnSpMkLst>
            <pc:docMk/>
            <pc:sldMk cId="3742937504" sldId="561"/>
            <ac:cxnSpMk id="178" creationId="{E5964253-458F-5A8A-051E-CFDCB94C4486}"/>
          </ac:cxnSpMkLst>
        </pc:cxnChg>
        <pc:cxnChg chg="add mod ord topLvl">
          <ac:chgData name="Trauer" userId="aa8b9dc3-a64d-4cc6-bd4f-f46eb5f096c9" providerId="ADAL" clId="{5B76CEF1-A6E3-49E3-8F70-F81E9495ECB4}" dt="2023-08-14T17:06:22.263" v="6135"/>
          <ac:cxnSpMkLst>
            <pc:docMk/>
            <pc:sldMk cId="3742937504" sldId="561"/>
            <ac:cxnSpMk id="179" creationId="{DBBC5364-D1FB-A663-8455-9A52033F1C80}"/>
          </ac:cxnSpMkLst>
        </pc:cxnChg>
        <pc:cxnChg chg="add del mod modVis">
          <ac:chgData name="Trauer" userId="aa8b9dc3-a64d-4cc6-bd4f-f46eb5f096c9" providerId="ADAL" clId="{5B76CEF1-A6E3-49E3-8F70-F81E9495ECB4}" dt="2023-08-14T17:05:49.059" v="4577"/>
          <ac:cxnSpMkLst>
            <pc:docMk/>
            <pc:sldMk cId="3742937504" sldId="561"/>
            <ac:cxnSpMk id="180" creationId="{BD0E0040-234E-0A54-A38B-AEC3DD9B18D6}"/>
          </ac:cxnSpMkLst>
        </pc:cxnChg>
        <pc:cxnChg chg="add mod ord topLvl">
          <ac:chgData name="Trauer" userId="aa8b9dc3-a64d-4cc6-bd4f-f46eb5f096c9" providerId="ADAL" clId="{5B76CEF1-A6E3-49E3-8F70-F81E9495ECB4}" dt="2023-08-14T17:06:22.261" v="6133"/>
          <ac:cxnSpMkLst>
            <pc:docMk/>
            <pc:sldMk cId="3742937504" sldId="561"/>
            <ac:cxnSpMk id="181" creationId="{F58E4F95-FBAE-ADBB-CAB1-A40443806257}"/>
          </ac:cxnSpMkLst>
        </pc:cxnChg>
        <pc:cxnChg chg="add del mod modVis">
          <ac:chgData name="Trauer" userId="aa8b9dc3-a64d-4cc6-bd4f-f46eb5f096c9" providerId="ADAL" clId="{5B76CEF1-A6E3-49E3-8F70-F81E9495ECB4}" dt="2023-08-14T17:05:49.067" v="4587"/>
          <ac:cxnSpMkLst>
            <pc:docMk/>
            <pc:sldMk cId="3742937504" sldId="561"/>
            <ac:cxnSpMk id="182" creationId="{12403D91-E08E-0DDE-A1A1-DDCFBCCEF1D7}"/>
          </ac:cxnSpMkLst>
        </pc:cxnChg>
        <pc:cxnChg chg="add mod ord topLvl">
          <ac:chgData name="Trauer" userId="aa8b9dc3-a64d-4cc6-bd4f-f46eb5f096c9" providerId="ADAL" clId="{5B76CEF1-A6E3-49E3-8F70-F81E9495ECB4}" dt="2023-08-14T17:06:22.260" v="6131"/>
          <ac:cxnSpMkLst>
            <pc:docMk/>
            <pc:sldMk cId="3742937504" sldId="561"/>
            <ac:cxnSpMk id="183" creationId="{C0763366-11ED-AD9F-35C1-8E5B17C20A3C}"/>
          </ac:cxnSpMkLst>
        </pc:cxnChg>
        <pc:cxnChg chg="add del mod modVis">
          <ac:chgData name="Trauer" userId="aa8b9dc3-a64d-4cc6-bd4f-f46eb5f096c9" providerId="ADAL" clId="{5B76CEF1-A6E3-49E3-8F70-F81E9495ECB4}" dt="2023-08-14T17:05:49.074" v="4597"/>
          <ac:cxnSpMkLst>
            <pc:docMk/>
            <pc:sldMk cId="3742937504" sldId="561"/>
            <ac:cxnSpMk id="184" creationId="{6E6EA9EC-BA98-F274-E5DB-17A2DF263EFA}"/>
          </ac:cxnSpMkLst>
        </pc:cxnChg>
        <pc:cxnChg chg="add mod ord topLvl">
          <ac:chgData name="Trauer" userId="aa8b9dc3-a64d-4cc6-bd4f-f46eb5f096c9" providerId="ADAL" clId="{5B76CEF1-A6E3-49E3-8F70-F81E9495ECB4}" dt="2023-08-14T17:06:22.259" v="6129"/>
          <ac:cxnSpMkLst>
            <pc:docMk/>
            <pc:sldMk cId="3742937504" sldId="561"/>
            <ac:cxnSpMk id="185" creationId="{EAA2DAFA-2BB2-6C69-969B-1FBEE825F212}"/>
          </ac:cxnSpMkLst>
        </pc:cxnChg>
        <pc:cxnChg chg="add mod ord topLvl">
          <ac:chgData name="Trauer" userId="aa8b9dc3-a64d-4cc6-bd4f-f46eb5f096c9" providerId="ADAL" clId="{5B76CEF1-A6E3-49E3-8F70-F81E9495ECB4}" dt="2023-08-14T17:06:22.257" v="6127"/>
          <ac:cxnSpMkLst>
            <pc:docMk/>
            <pc:sldMk cId="3742937504" sldId="561"/>
            <ac:cxnSpMk id="186" creationId="{F59FC8BD-E943-064B-354A-AB1FD019A5A9}"/>
          </ac:cxnSpMkLst>
        </pc:cxnChg>
        <pc:cxnChg chg="add mod ord topLvl">
          <ac:chgData name="Trauer" userId="aa8b9dc3-a64d-4cc6-bd4f-f46eb5f096c9" providerId="ADAL" clId="{5B76CEF1-A6E3-49E3-8F70-F81E9495ECB4}" dt="2023-08-14T17:06:22.255" v="6125"/>
          <ac:cxnSpMkLst>
            <pc:docMk/>
            <pc:sldMk cId="3742937504" sldId="561"/>
            <ac:cxnSpMk id="187" creationId="{03A86D59-8B3D-BCF4-E57B-6AEEFC263E50}"/>
          </ac:cxnSpMkLst>
        </pc:cxnChg>
        <pc:cxnChg chg="add mod ord topLvl">
          <ac:chgData name="Trauer" userId="aa8b9dc3-a64d-4cc6-bd4f-f46eb5f096c9" providerId="ADAL" clId="{5B76CEF1-A6E3-49E3-8F70-F81E9495ECB4}" dt="2023-08-14T17:06:22.254" v="6123"/>
          <ac:cxnSpMkLst>
            <pc:docMk/>
            <pc:sldMk cId="3742937504" sldId="561"/>
            <ac:cxnSpMk id="188" creationId="{2F421F9A-B6CA-B764-5078-177ACCC7A9B0}"/>
          </ac:cxnSpMkLst>
        </pc:cxnChg>
        <pc:cxnChg chg="add del mod modVis">
          <ac:chgData name="Trauer" userId="aa8b9dc3-a64d-4cc6-bd4f-f46eb5f096c9" providerId="ADAL" clId="{5B76CEF1-A6E3-49E3-8F70-F81E9495ECB4}" dt="2023-08-14T17:05:49.093" v="4619"/>
          <ac:cxnSpMkLst>
            <pc:docMk/>
            <pc:sldMk cId="3742937504" sldId="561"/>
            <ac:cxnSpMk id="189" creationId="{52EEF4A6-8A73-23EB-3067-1793C953EA3E}"/>
          </ac:cxnSpMkLst>
        </pc:cxnChg>
        <pc:cxnChg chg="add mod ord topLvl">
          <ac:chgData name="Trauer" userId="aa8b9dc3-a64d-4cc6-bd4f-f46eb5f096c9" providerId="ADAL" clId="{5B76CEF1-A6E3-49E3-8F70-F81E9495ECB4}" dt="2023-08-14T17:06:22.253" v="6121"/>
          <ac:cxnSpMkLst>
            <pc:docMk/>
            <pc:sldMk cId="3742937504" sldId="561"/>
            <ac:cxnSpMk id="190" creationId="{D4879811-3D28-2469-ECC4-20BE2D7E8D99}"/>
          </ac:cxnSpMkLst>
        </pc:cxnChg>
        <pc:cxnChg chg="add del mod modVis">
          <ac:chgData name="Trauer" userId="aa8b9dc3-a64d-4cc6-bd4f-f46eb5f096c9" providerId="ADAL" clId="{5B76CEF1-A6E3-49E3-8F70-F81E9495ECB4}" dt="2023-08-14T17:05:49.100" v="4629"/>
          <ac:cxnSpMkLst>
            <pc:docMk/>
            <pc:sldMk cId="3742937504" sldId="561"/>
            <ac:cxnSpMk id="191" creationId="{043142FD-6C66-9A85-0F67-03A8E463EF7A}"/>
          </ac:cxnSpMkLst>
        </pc:cxnChg>
        <pc:cxnChg chg="add mod ord topLvl">
          <ac:chgData name="Trauer" userId="aa8b9dc3-a64d-4cc6-bd4f-f46eb5f096c9" providerId="ADAL" clId="{5B76CEF1-A6E3-49E3-8F70-F81E9495ECB4}" dt="2023-08-14T17:06:22.252" v="6119"/>
          <ac:cxnSpMkLst>
            <pc:docMk/>
            <pc:sldMk cId="3742937504" sldId="561"/>
            <ac:cxnSpMk id="192" creationId="{49C9F81B-E69D-5FDC-4D8A-2A0FDA04024C}"/>
          </ac:cxnSpMkLst>
        </pc:cxnChg>
        <pc:cxnChg chg="add mod ord topLvl">
          <ac:chgData name="Trauer" userId="aa8b9dc3-a64d-4cc6-bd4f-f46eb5f096c9" providerId="ADAL" clId="{5B76CEF1-A6E3-49E3-8F70-F81E9495ECB4}" dt="2023-08-14T17:06:22.251" v="6117"/>
          <ac:cxnSpMkLst>
            <pc:docMk/>
            <pc:sldMk cId="3742937504" sldId="561"/>
            <ac:cxnSpMk id="193" creationId="{F1E3D328-58BE-3009-D32E-F530808C9873}"/>
          </ac:cxnSpMkLst>
        </pc:cxnChg>
        <pc:cxnChg chg="add mod ord topLvl">
          <ac:chgData name="Trauer" userId="aa8b9dc3-a64d-4cc6-bd4f-f46eb5f096c9" providerId="ADAL" clId="{5B76CEF1-A6E3-49E3-8F70-F81E9495ECB4}" dt="2023-08-14T17:06:22.250" v="6115"/>
          <ac:cxnSpMkLst>
            <pc:docMk/>
            <pc:sldMk cId="3742937504" sldId="561"/>
            <ac:cxnSpMk id="194" creationId="{69645BD4-B8E5-1AFD-2416-CD6102DCBB5A}"/>
          </ac:cxnSpMkLst>
        </pc:cxnChg>
        <pc:cxnChg chg="add mod ord topLvl">
          <ac:chgData name="Trauer" userId="aa8b9dc3-a64d-4cc6-bd4f-f46eb5f096c9" providerId="ADAL" clId="{5B76CEF1-A6E3-49E3-8F70-F81E9495ECB4}" dt="2023-08-14T17:06:22.250" v="6113"/>
          <ac:cxnSpMkLst>
            <pc:docMk/>
            <pc:sldMk cId="3742937504" sldId="561"/>
            <ac:cxnSpMk id="195" creationId="{52F05769-3EBA-8657-E301-53ABE75E4AC8}"/>
          </ac:cxnSpMkLst>
        </pc:cxnChg>
        <pc:cxnChg chg="add mod ord topLvl">
          <ac:chgData name="Trauer" userId="aa8b9dc3-a64d-4cc6-bd4f-f46eb5f096c9" providerId="ADAL" clId="{5B76CEF1-A6E3-49E3-8F70-F81E9495ECB4}" dt="2023-08-14T17:06:22.249" v="6111"/>
          <ac:cxnSpMkLst>
            <pc:docMk/>
            <pc:sldMk cId="3742937504" sldId="561"/>
            <ac:cxnSpMk id="196" creationId="{0D034695-C8B7-AAC4-6F51-534B91CDC022}"/>
          </ac:cxnSpMkLst>
        </pc:cxnChg>
        <pc:cxnChg chg="add mod ord topLvl">
          <ac:chgData name="Trauer" userId="aa8b9dc3-a64d-4cc6-bd4f-f46eb5f096c9" providerId="ADAL" clId="{5B76CEF1-A6E3-49E3-8F70-F81E9495ECB4}" dt="2023-08-14T17:06:22.248" v="6109"/>
          <ac:cxnSpMkLst>
            <pc:docMk/>
            <pc:sldMk cId="3742937504" sldId="561"/>
            <ac:cxnSpMk id="197" creationId="{F7622980-49F4-AABA-F80E-E384ECDE00ED}"/>
          </ac:cxnSpMkLst>
        </pc:cxnChg>
        <pc:cxnChg chg="add del mod ord">
          <ac:chgData name="Trauer" userId="aa8b9dc3-a64d-4cc6-bd4f-f46eb5f096c9" providerId="ADAL" clId="{5B76CEF1-A6E3-49E3-8F70-F81E9495ECB4}" dt="2023-08-14T17:05:52.473" v="5373"/>
          <ac:cxnSpMkLst>
            <pc:docMk/>
            <pc:sldMk cId="3742937504" sldId="561"/>
            <ac:cxnSpMk id="213" creationId="{3D8B2ADB-DCF6-51EA-3087-6C38860A0CCA}"/>
          </ac:cxnSpMkLst>
        </pc:cxnChg>
        <pc:cxnChg chg="add del mod ord">
          <ac:chgData name="Trauer" userId="aa8b9dc3-a64d-4cc6-bd4f-f46eb5f096c9" providerId="ADAL" clId="{5B76CEF1-A6E3-49E3-8F70-F81E9495ECB4}" dt="2023-08-14T17:05:52.513" v="5377"/>
          <ac:cxnSpMkLst>
            <pc:docMk/>
            <pc:sldMk cId="3742937504" sldId="561"/>
            <ac:cxnSpMk id="214" creationId="{101553ED-F88E-FA30-97CD-AA6E1B37E08F}"/>
          </ac:cxnSpMkLst>
        </pc:cxnChg>
        <pc:cxnChg chg="add del mod ord">
          <ac:chgData name="Trauer" userId="aa8b9dc3-a64d-4cc6-bd4f-f46eb5f096c9" providerId="ADAL" clId="{5B76CEF1-A6E3-49E3-8F70-F81E9495ECB4}" dt="2023-08-14T17:05:52.522" v="5379"/>
          <ac:cxnSpMkLst>
            <pc:docMk/>
            <pc:sldMk cId="3742937504" sldId="561"/>
            <ac:cxnSpMk id="215" creationId="{44A03043-9C81-8E88-BF72-C3141314C2CA}"/>
          </ac:cxnSpMkLst>
        </pc:cxnChg>
        <pc:cxnChg chg="add del mod ord">
          <ac:chgData name="Trauer" userId="aa8b9dc3-a64d-4cc6-bd4f-f46eb5f096c9" providerId="ADAL" clId="{5B76CEF1-A6E3-49E3-8F70-F81E9495ECB4}" dt="2023-08-14T17:05:52.480" v="5375"/>
          <ac:cxnSpMkLst>
            <pc:docMk/>
            <pc:sldMk cId="3742937504" sldId="561"/>
            <ac:cxnSpMk id="216" creationId="{5E35EB05-B234-5B01-953F-F2F173446924}"/>
          </ac:cxnSpMkLst>
        </pc:cxnChg>
        <pc:cxnChg chg="add del mod ord">
          <ac:chgData name="Trauer" userId="aa8b9dc3-a64d-4cc6-bd4f-f46eb5f096c9" providerId="ADAL" clId="{5B76CEF1-A6E3-49E3-8F70-F81E9495ECB4}" dt="2023-08-14T17:05:52.572" v="5403"/>
          <ac:cxnSpMkLst>
            <pc:docMk/>
            <pc:sldMk cId="3742937504" sldId="561"/>
            <ac:cxnSpMk id="217" creationId="{9AAC1456-104E-1703-CE6F-E259FC444771}"/>
          </ac:cxnSpMkLst>
        </pc:cxnChg>
        <pc:cxnChg chg="add del mod ord">
          <ac:chgData name="Trauer" userId="aa8b9dc3-a64d-4cc6-bd4f-f46eb5f096c9" providerId="ADAL" clId="{5B76CEF1-A6E3-49E3-8F70-F81E9495ECB4}" dt="2023-08-14T17:05:52.578" v="5405"/>
          <ac:cxnSpMkLst>
            <pc:docMk/>
            <pc:sldMk cId="3742937504" sldId="561"/>
            <ac:cxnSpMk id="218" creationId="{3B98C58F-7451-E725-D72B-BD09C68FF182}"/>
          </ac:cxnSpMkLst>
        </pc:cxnChg>
        <pc:cxnChg chg="add mod ord topLvl">
          <ac:chgData name="Trauer" userId="aa8b9dc3-a64d-4cc6-bd4f-f46eb5f096c9" providerId="ADAL" clId="{5B76CEF1-A6E3-49E3-8F70-F81E9495ECB4}" dt="2023-08-14T17:06:22.522" v="6321"/>
          <ac:cxnSpMkLst>
            <pc:docMk/>
            <pc:sldMk cId="3742937504" sldId="561"/>
            <ac:cxnSpMk id="219" creationId="{05534E90-BFEC-A7D5-95EC-8C0CD629EE9B}"/>
          </ac:cxnSpMkLst>
        </pc:cxnChg>
        <pc:cxnChg chg="add mod ord topLvl">
          <ac:chgData name="Trauer" userId="aa8b9dc3-a64d-4cc6-bd4f-f46eb5f096c9" providerId="ADAL" clId="{5B76CEF1-A6E3-49E3-8F70-F81E9495ECB4}" dt="2023-08-14T17:06:22.521" v="6319"/>
          <ac:cxnSpMkLst>
            <pc:docMk/>
            <pc:sldMk cId="3742937504" sldId="561"/>
            <ac:cxnSpMk id="220" creationId="{07B26A90-48F7-8C8A-A258-D017C75FFC8B}"/>
          </ac:cxnSpMkLst>
        </pc:cxnChg>
        <pc:cxnChg chg="add mod ord topLvl">
          <ac:chgData name="Trauer" userId="aa8b9dc3-a64d-4cc6-bd4f-f46eb5f096c9" providerId="ADAL" clId="{5B76CEF1-A6E3-49E3-8F70-F81E9495ECB4}" dt="2023-08-14T17:06:22.520" v="6317"/>
          <ac:cxnSpMkLst>
            <pc:docMk/>
            <pc:sldMk cId="3742937504" sldId="561"/>
            <ac:cxnSpMk id="221" creationId="{C11744A3-81C3-FB43-2778-A2771674D80B}"/>
          </ac:cxnSpMkLst>
        </pc:cxnChg>
        <pc:cxnChg chg="add mod ord topLvl">
          <ac:chgData name="Trauer" userId="aa8b9dc3-a64d-4cc6-bd4f-f46eb5f096c9" providerId="ADAL" clId="{5B76CEF1-A6E3-49E3-8F70-F81E9495ECB4}" dt="2023-08-14T17:06:22.519" v="6315"/>
          <ac:cxnSpMkLst>
            <pc:docMk/>
            <pc:sldMk cId="3742937504" sldId="561"/>
            <ac:cxnSpMk id="222" creationId="{1FC14574-3DEF-BCEC-8C2E-10769F5688C2}"/>
          </ac:cxnSpMkLst>
        </pc:cxnChg>
        <pc:cxnChg chg="add mod ord topLvl">
          <ac:chgData name="Trauer" userId="aa8b9dc3-a64d-4cc6-bd4f-f46eb5f096c9" providerId="ADAL" clId="{5B76CEF1-A6E3-49E3-8F70-F81E9495ECB4}" dt="2023-08-14T17:06:22.518" v="6313"/>
          <ac:cxnSpMkLst>
            <pc:docMk/>
            <pc:sldMk cId="3742937504" sldId="561"/>
            <ac:cxnSpMk id="223" creationId="{D8942B50-724F-CEA4-2A65-096751F26B60}"/>
          </ac:cxnSpMkLst>
        </pc:cxnChg>
        <pc:cxnChg chg="add mod ord topLvl">
          <ac:chgData name="Trauer" userId="aa8b9dc3-a64d-4cc6-bd4f-f46eb5f096c9" providerId="ADAL" clId="{5B76CEF1-A6E3-49E3-8F70-F81E9495ECB4}" dt="2023-08-14T17:06:22.517" v="6311"/>
          <ac:cxnSpMkLst>
            <pc:docMk/>
            <pc:sldMk cId="3742937504" sldId="561"/>
            <ac:cxnSpMk id="224" creationId="{1CDD1B5E-7C56-4D42-1513-D47F85FDC963}"/>
          </ac:cxnSpMkLst>
        </pc:cxnChg>
        <pc:cxnChg chg="add del mod ord">
          <ac:chgData name="Trauer" userId="aa8b9dc3-a64d-4cc6-bd4f-f46eb5f096c9" providerId="ADAL" clId="{5B76CEF1-A6E3-49E3-8F70-F81E9495ECB4}" dt="2023-08-14T17:05:52.627" v="5419"/>
          <ac:cxnSpMkLst>
            <pc:docMk/>
            <pc:sldMk cId="3742937504" sldId="561"/>
            <ac:cxnSpMk id="225" creationId="{B66F95E1-2704-8F82-0CFE-B8A4F83CBF21}"/>
          </ac:cxnSpMkLst>
        </pc:cxnChg>
        <pc:cxnChg chg="add del mod ord">
          <ac:chgData name="Trauer" userId="aa8b9dc3-a64d-4cc6-bd4f-f46eb5f096c9" providerId="ADAL" clId="{5B76CEF1-A6E3-49E3-8F70-F81E9495ECB4}" dt="2023-08-14T17:05:52.633" v="5421"/>
          <ac:cxnSpMkLst>
            <pc:docMk/>
            <pc:sldMk cId="3742937504" sldId="561"/>
            <ac:cxnSpMk id="226" creationId="{E297C3E6-17D7-7FDA-7A3E-C475E08443A7}"/>
          </ac:cxnSpMkLst>
        </pc:cxnChg>
        <pc:cxnChg chg="add del mod modVis">
          <ac:chgData name="Trauer" userId="aa8b9dc3-a64d-4cc6-bd4f-f46eb5f096c9" providerId="ADAL" clId="{5B76CEF1-A6E3-49E3-8F70-F81E9495ECB4}" dt="2023-08-14T17:05:53.303" v="5688"/>
          <ac:cxnSpMkLst>
            <pc:docMk/>
            <pc:sldMk cId="3742937504" sldId="561"/>
            <ac:cxnSpMk id="229" creationId="{4EB363D4-5B3D-CD8A-D3D1-673F9549B5A6}"/>
          </ac:cxnSpMkLst>
        </pc:cxnChg>
        <pc:cxnChg chg="add del mod ord">
          <ac:chgData name="Trauer" userId="aa8b9dc3-a64d-4cc6-bd4f-f46eb5f096c9" providerId="ADAL" clId="{5B76CEF1-A6E3-49E3-8F70-F81E9495ECB4}" dt="2023-08-14T17:06:21.792" v="6014"/>
          <ac:cxnSpMkLst>
            <pc:docMk/>
            <pc:sldMk cId="3742937504" sldId="561"/>
            <ac:cxnSpMk id="231" creationId="{6F58E711-34B3-A208-3038-2D618062CEC7}"/>
          </ac:cxnSpMkLst>
        </pc:cxnChg>
        <pc:cxnChg chg="add del mod ord">
          <ac:chgData name="Trauer" userId="aa8b9dc3-a64d-4cc6-bd4f-f46eb5f096c9" providerId="ADAL" clId="{5B76CEF1-A6E3-49E3-8F70-F81E9495ECB4}" dt="2023-08-14T17:06:21.835" v="6018"/>
          <ac:cxnSpMkLst>
            <pc:docMk/>
            <pc:sldMk cId="3742937504" sldId="561"/>
            <ac:cxnSpMk id="232" creationId="{D8051899-B871-67A0-BE6B-6021B6EB09A9}"/>
          </ac:cxnSpMkLst>
        </pc:cxnChg>
        <pc:cxnChg chg="add del mod ord">
          <ac:chgData name="Trauer" userId="aa8b9dc3-a64d-4cc6-bd4f-f46eb5f096c9" providerId="ADAL" clId="{5B76CEF1-A6E3-49E3-8F70-F81E9495ECB4}" dt="2023-08-14T17:06:21.847" v="6020"/>
          <ac:cxnSpMkLst>
            <pc:docMk/>
            <pc:sldMk cId="3742937504" sldId="561"/>
            <ac:cxnSpMk id="233" creationId="{9B275E4A-E920-2D79-7BE9-F7A37B2838B6}"/>
          </ac:cxnSpMkLst>
        </pc:cxnChg>
        <pc:cxnChg chg="add del mod ord">
          <ac:chgData name="Trauer" userId="aa8b9dc3-a64d-4cc6-bd4f-f46eb5f096c9" providerId="ADAL" clId="{5B76CEF1-A6E3-49E3-8F70-F81E9495ECB4}" dt="2023-08-14T17:06:21.800" v="6016"/>
          <ac:cxnSpMkLst>
            <pc:docMk/>
            <pc:sldMk cId="3742937504" sldId="561"/>
            <ac:cxnSpMk id="234" creationId="{6B70D509-5510-8BB5-5092-1746969D2E55}"/>
          </ac:cxnSpMkLst>
        </pc:cxnChg>
        <pc:cxnChg chg="add del mod ord">
          <ac:chgData name="Trauer" userId="aa8b9dc3-a64d-4cc6-bd4f-f46eb5f096c9" providerId="ADAL" clId="{5B76CEF1-A6E3-49E3-8F70-F81E9495ECB4}" dt="2023-08-14T17:06:21.884" v="6044"/>
          <ac:cxnSpMkLst>
            <pc:docMk/>
            <pc:sldMk cId="3742937504" sldId="561"/>
            <ac:cxnSpMk id="235" creationId="{A39E3816-F987-F874-DB6D-32B688007893}"/>
          </ac:cxnSpMkLst>
        </pc:cxnChg>
        <pc:cxnChg chg="add del mod ord">
          <ac:chgData name="Trauer" userId="aa8b9dc3-a64d-4cc6-bd4f-f46eb5f096c9" providerId="ADAL" clId="{5B76CEF1-A6E3-49E3-8F70-F81E9495ECB4}" dt="2023-08-14T17:06:21.891" v="6046"/>
          <ac:cxnSpMkLst>
            <pc:docMk/>
            <pc:sldMk cId="3742937504" sldId="561"/>
            <ac:cxnSpMk id="236" creationId="{EBD27121-3A7B-4DEA-2323-130CDF1E7862}"/>
          </ac:cxnSpMkLst>
        </pc:cxnChg>
        <pc:cxnChg chg="add del mod ord">
          <ac:chgData name="Trauer" userId="aa8b9dc3-a64d-4cc6-bd4f-f46eb5f096c9" providerId="ADAL" clId="{5B76CEF1-A6E3-49E3-8F70-F81E9495ECB4}" dt="2023-08-14T17:06:21.947" v="6060"/>
          <ac:cxnSpMkLst>
            <pc:docMk/>
            <pc:sldMk cId="3742937504" sldId="561"/>
            <ac:cxnSpMk id="237" creationId="{34D4ECA7-9778-3473-24C1-E97A3D1E215D}"/>
          </ac:cxnSpMkLst>
        </pc:cxnChg>
        <pc:cxnChg chg="add del mod ord">
          <ac:chgData name="Trauer" userId="aa8b9dc3-a64d-4cc6-bd4f-f46eb5f096c9" providerId="ADAL" clId="{5B76CEF1-A6E3-49E3-8F70-F81E9495ECB4}" dt="2023-08-14T17:06:21.954" v="6062"/>
          <ac:cxnSpMkLst>
            <pc:docMk/>
            <pc:sldMk cId="3742937504" sldId="561"/>
            <ac:cxnSpMk id="238" creationId="{8B2C544C-0EA8-5506-8623-A9FB3CED30FD}"/>
          </ac:cxnSpMkLst>
        </pc:cxnChg>
        <pc:cxnChg chg="add del mod modVis">
          <ac:chgData name="Trauer" userId="aa8b9dc3-a64d-4cc6-bd4f-f46eb5f096c9" providerId="ADAL" clId="{5B76CEF1-A6E3-49E3-8F70-F81E9495ECB4}" dt="2023-08-14T17:06:22.556" v="6328"/>
          <ac:cxnSpMkLst>
            <pc:docMk/>
            <pc:sldMk cId="3742937504" sldId="561"/>
            <ac:cxnSpMk id="241" creationId="{398EB25A-5749-2C7F-1021-DE9BE6F84CD5}"/>
          </ac:cxnSpMkLst>
        </pc:cxnChg>
        <pc:cxnChg chg="add mod ord">
          <ac:chgData name="Trauer" userId="aa8b9dc3-a64d-4cc6-bd4f-f46eb5f096c9" providerId="ADAL" clId="{5B76CEF1-A6E3-49E3-8F70-F81E9495ECB4}" dt="2023-08-14T17:06:22.380" v="6291"/>
          <ac:cxnSpMkLst>
            <pc:docMk/>
            <pc:sldMk cId="3742937504" sldId="561"/>
            <ac:cxnSpMk id="243" creationId="{AB305F73-896A-4734-C4D8-015A8665C40D}"/>
          </ac:cxnSpMkLst>
        </pc:cxnChg>
        <pc:cxnChg chg="add mod ord">
          <ac:chgData name="Trauer" userId="aa8b9dc3-a64d-4cc6-bd4f-f46eb5f096c9" providerId="ADAL" clId="{5B76CEF1-A6E3-49E3-8F70-F81E9495ECB4}" dt="2023-08-14T17:06:22.178" v="6081"/>
          <ac:cxnSpMkLst>
            <pc:docMk/>
            <pc:sldMk cId="3742937504" sldId="561"/>
            <ac:cxnSpMk id="244" creationId="{628B219B-424A-D236-B50E-E84EE296FAA7}"/>
          </ac:cxnSpMkLst>
        </pc:cxnChg>
        <pc:cxnChg chg="add mod ord">
          <ac:chgData name="Trauer" userId="aa8b9dc3-a64d-4cc6-bd4f-f46eb5f096c9" providerId="ADAL" clId="{5B76CEF1-A6E3-49E3-8F70-F81E9495ECB4}" dt="2023-08-14T17:06:22.177" v="6079"/>
          <ac:cxnSpMkLst>
            <pc:docMk/>
            <pc:sldMk cId="3742937504" sldId="561"/>
            <ac:cxnSpMk id="245" creationId="{EB489975-339F-B545-9838-070BDD3B6652}"/>
          </ac:cxnSpMkLst>
        </pc:cxnChg>
        <pc:cxnChg chg="add mod ord">
          <ac:chgData name="Trauer" userId="aa8b9dc3-a64d-4cc6-bd4f-f46eb5f096c9" providerId="ADAL" clId="{5B76CEF1-A6E3-49E3-8F70-F81E9495ECB4}" dt="2023-08-14T17:06:22.379" v="6289"/>
          <ac:cxnSpMkLst>
            <pc:docMk/>
            <pc:sldMk cId="3742937504" sldId="561"/>
            <ac:cxnSpMk id="246" creationId="{7B660620-2D76-18F1-8FB2-0DCE069C62DA}"/>
          </ac:cxnSpMkLst>
        </pc:cxnChg>
        <pc:cxnChg chg="add mod ord">
          <ac:chgData name="Trauer" userId="aa8b9dc3-a64d-4cc6-bd4f-f46eb5f096c9" providerId="ADAL" clId="{5B76CEF1-A6E3-49E3-8F70-F81E9495ECB4}" dt="2023-08-14T17:06:22.414" v="6295"/>
          <ac:cxnSpMkLst>
            <pc:docMk/>
            <pc:sldMk cId="3742937504" sldId="561"/>
            <ac:cxnSpMk id="247" creationId="{C2020FA2-B1B9-DF2B-C4F6-086C2D08E8B0}"/>
          </ac:cxnSpMkLst>
        </pc:cxnChg>
        <pc:cxnChg chg="add mod ord">
          <ac:chgData name="Trauer" userId="aa8b9dc3-a64d-4cc6-bd4f-f46eb5f096c9" providerId="ADAL" clId="{5B76CEF1-A6E3-49E3-8F70-F81E9495ECB4}" dt="2023-08-14T17:06:22.413" v="6293"/>
          <ac:cxnSpMkLst>
            <pc:docMk/>
            <pc:sldMk cId="3742937504" sldId="561"/>
            <ac:cxnSpMk id="248" creationId="{4D1D11CA-1FAD-BCA8-5AF4-5E2B467A5ED0}"/>
          </ac:cxnSpMkLst>
        </pc:cxnChg>
        <pc:cxnChg chg="add mod ord">
          <ac:chgData name="Trauer" userId="aa8b9dc3-a64d-4cc6-bd4f-f46eb5f096c9" providerId="ADAL" clId="{5B76CEF1-A6E3-49E3-8F70-F81E9495ECB4}" dt="2023-08-14T17:06:22.550" v="6325"/>
          <ac:cxnSpMkLst>
            <pc:docMk/>
            <pc:sldMk cId="3742937504" sldId="561"/>
            <ac:cxnSpMk id="249" creationId="{8C9E37FD-57DE-8ED2-7019-09013893D8EF}"/>
          </ac:cxnSpMkLst>
        </pc:cxnChg>
        <pc:cxnChg chg="add mod ord">
          <ac:chgData name="Trauer" userId="aa8b9dc3-a64d-4cc6-bd4f-f46eb5f096c9" providerId="ADAL" clId="{5B76CEF1-A6E3-49E3-8F70-F81E9495ECB4}" dt="2023-08-14T17:06:22.549" v="6323"/>
          <ac:cxnSpMkLst>
            <pc:docMk/>
            <pc:sldMk cId="3742937504" sldId="561"/>
            <ac:cxnSpMk id="250" creationId="{837CC856-2D57-47F7-5A1E-6EDFC13C48AA}"/>
          </ac:cxnSpMkLst>
        </pc:cxnChg>
      </pc:sldChg>
      <pc:sldChg chg="addSp modSp new mod modTransition">
        <pc:chgData name="Trauer" userId="aa8b9dc3-a64d-4cc6-bd4f-f46eb5f096c9" providerId="ADAL" clId="{5B76CEF1-A6E3-49E3-8F70-F81E9495ECB4}" dt="2023-08-14T17:28:50.658" v="6615" actId="207"/>
        <pc:sldMkLst>
          <pc:docMk/>
          <pc:sldMk cId="3255581991" sldId="562"/>
        </pc:sldMkLst>
        <pc:spChg chg="mod">
          <ac:chgData name="Trauer" userId="aa8b9dc3-a64d-4cc6-bd4f-f46eb5f096c9" providerId="ADAL" clId="{5B76CEF1-A6E3-49E3-8F70-F81E9495ECB4}" dt="2023-08-14T16:12:45.834" v="2992" actId="20577"/>
          <ac:spMkLst>
            <pc:docMk/>
            <pc:sldMk cId="3255581991" sldId="562"/>
            <ac:spMk id="2" creationId="{C0FFFF29-2EC1-A924-D18E-4BC4F418EB98}"/>
          </ac:spMkLst>
        </pc:spChg>
        <pc:spChg chg="add mod ord">
          <ac:chgData name="Trauer" userId="aa8b9dc3-a64d-4cc6-bd4f-f46eb5f096c9" providerId="ADAL" clId="{5B76CEF1-A6E3-49E3-8F70-F81E9495ECB4}" dt="2023-08-14T17:28:22.699" v="6613" actId="34135"/>
          <ac:spMkLst>
            <pc:docMk/>
            <pc:sldMk cId="3255581991" sldId="562"/>
            <ac:spMk id="3" creationId="{80E8DE93-5159-5025-F96C-419F93638985}"/>
          </ac:spMkLst>
        </pc:spChg>
        <pc:spChg chg="add mod ord">
          <ac:chgData name="Trauer" userId="aa8b9dc3-a64d-4cc6-bd4f-f46eb5f096c9" providerId="ADAL" clId="{5B76CEF1-A6E3-49E3-8F70-F81E9495ECB4}" dt="2023-08-14T17:28:22.699" v="6613" actId="34135"/>
          <ac:spMkLst>
            <pc:docMk/>
            <pc:sldMk cId="3255581991" sldId="562"/>
            <ac:spMk id="4" creationId="{D75A1469-0F03-2B4E-90D2-7FF7771AA97F}"/>
          </ac:spMkLst>
        </pc:spChg>
        <pc:spChg chg="add mod ord">
          <ac:chgData name="Trauer" userId="aa8b9dc3-a64d-4cc6-bd4f-f46eb5f096c9" providerId="ADAL" clId="{5B76CEF1-A6E3-49E3-8F70-F81E9495ECB4}" dt="2023-08-14T17:28:22.699" v="6613" actId="34135"/>
          <ac:spMkLst>
            <pc:docMk/>
            <pc:sldMk cId="3255581991" sldId="562"/>
            <ac:spMk id="5" creationId="{F20ED930-7A0E-CCA7-150E-2AAC142A28BA}"/>
          </ac:spMkLst>
        </pc:spChg>
        <pc:spChg chg="add mod ord">
          <ac:chgData name="Trauer" userId="aa8b9dc3-a64d-4cc6-bd4f-f46eb5f096c9" providerId="ADAL" clId="{5B76CEF1-A6E3-49E3-8F70-F81E9495ECB4}" dt="2023-08-14T17:28:22.699" v="6613" actId="34135"/>
          <ac:spMkLst>
            <pc:docMk/>
            <pc:sldMk cId="3255581991" sldId="562"/>
            <ac:spMk id="6" creationId="{3E955864-B6C2-6786-EFCB-3BEBCF931EEF}"/>
          </ac:spMkLst>
        </pc:spChg>
        <pc:spChg chg="add mod ord">
          <ac:chgData name="Trauer" userId="aa8b9dc3-a64d-4cc6-bd4f-f46eb5f096c9" providerId="ADAL" clId="{5B76CEF1-A6E3-49E3-8F70-F81E9495ECB4}" dt="2023-08-14T17:28:22.699" v="6613" actId="34135"/>
          <ac:spMkLst>
            <pc:docMk/>
            <pc:sldMk cId="3255581991" sldId="562"/>
            <ac:spMk id="7" creationId="{4F38AB9F-9D81-9B1D-57EB-D7A7640599D2}"/>
          </ac:spMkLst>
        </pc:spChg>
        <pc:spChg chg="add mod ord">
          <ac:chgData name="Trauer" userId="aa8b9dc3-a64d-4cc6-bd4f-f46eb5f096c9" providerId="ADAL" clId="{5B76CEF1-A6E3-49E3-8F70-F81E9495ECB4}" dt="2023-08-14T17:28:22.699" v="6613" actId="34135"/>
          <ac:spMkLst>
            <pc:docMk/>
            <pc:sldMk cId="3255581991" sldId="562"/>
            <ac:spMk id="8" creationId="{56723638-1234-CA0C-6AB5-474671C44C06}"/>
          </ac:spMkLst>
        </pc:spChg>
        <pc:spChg chg="add mod ord">
          <ac:chgData name="Trauer" userId="aa8b9dc3-a64d-4cc6-bd4f-f46eb5f096c9" providerId="ADAL" clId="{5B76CEF1-A6E3-49E3-8F70-F81E9495ECB4}" dt="2023-08-14T17:28:22.699" v="6613" actId="34135"/>
          <ac:spMkLst>
            <pc:docMk/>
            <pc:sldMk cId="3255581991" sldId="562"/>
            <ac:spMk id="9" creationId="{A9675876-F60C-9A9B-B445-D73E32C7E24C}"/>
          </ac:spMkLst>
        </pc:spChg>
        <pc:spChg chg="add mod ord">
          <ac:chgData name="Trauer" userId="aa8b9dc3-a64d-4cc6-bd4f-f46eb5f096c9" providerId="ADAL" clId="{5B76CEF1-A6E3-49E3-8F70-F81E9495ECB4}" dt="2023-08-14T17:28:22.699" v="6613" actId="34135"/>
          <ac:spMkLst>
            <pc:docMk/>
            <pc:sldMk cId="3255581991" sldId="562"/>
            <ac:spMk id="10" creationId="{FCBD4EAB-24E6-65C8-D15D-F52641F6BC0E}"/>
          </ac:spMkLst>
        </pc:spChg>
        <pc:spChg chg="add mod ord">
          <ac:chgData name="Trauer" userId="aa8b9dc3-a64d-4cc6-bd4f-f46eb5f096c9" providerId="ADAL" clId="{5B76CEF1-A6E3-49E3-8F70-F81E9495ECB4}" dt="2023-08-14T17:28:22.699" v="6613" actId="34135"/>
          <ac:spMkLst>
            <pc:docMk/>
            <pc:sldMk cId="3255581991" sldId="562"/>
            <ac:spMk id="11" creationId="{47C8CB61-C3AB-419C-2326-97376CC52F12}"/>
          </ac:spMkLst>
        </pc:spChg>
        <pc:spChg chg="add mod">
          <ac:chgData name="Trauer" userId="aa8b9dc3-a64d-4cc6-bd4f-f46eb5f096c9" providerId="ADAL" clId="{5B76CEF1-A6E3-49E3-8F70-F81E9495ECB4}" dt="2023-08-14T17:28:22.699" v="6613" actId="34135"/>
          <ac:spMkLst>
            <pc:docMk/>
            <pc:sldMk cId="3255581991" sldId="562"/>
            <ac:spMk id="12" creationId="{94EFF0C3-03A9-3FB6-8E11-BE3556C6818A}"/>
          </ac:spMkLst>
        </pc:spChg>
        <pc:spChg chg="add mod">
          <ac:chgData name="Trauer" userId="aa8b9dc3-a64d-4cc6-bd4f-f46eb5f096c9" providerId="ADAL" clId="{5B76CEF1-A6E3-49E3-8F70-F81E9495ECB4}" dt="2023-08-14T16:19:54.264" v="3188"/>
          <ac:spMkLst>
            <pc:docMk/>
            <pc:sldMk cId="3255581991" sldId="562"/>
            <ac:spMk id="13" creationId="{CE4E5F75-C96B-B4B6-D756-6E9EC39E1D72}"/>
          </ac:spMkLst>
        </pc:spChg>
        <pc:spChg chg="add mod">
          <ac:chgData name="Trauer" userId="aa8b9dc3-a64d-4cc6-bd4f-f46eb5f096c9" providerId="ADAL" clId="{5B76CEF1-A6E3-49E3-8F70-F81E9495ECB4}" dt="2023-08-14T17:28:50.658" v="6615" actId="207"/>
          <ac:spMkLst>
            <pc:docMk/>
            <pc:sldMk cId="3255581991" sldId="562"/>
            <ac:spMk id="14" creationId="{2E49F470-F1F8-609A-D8EA-F5C9E54F57F7}"/>
          </ac:spMkLst>
        </pc:spChg>
        <pc:spChg chg="add mod">
          <ac:chgData name="Trauer" userId="aa8b9dc3-a64d-4cc6-bd4f-f46eb5f096c9" providerId="ADAL" clId="{5B76CEF1-A6E3-49E3-8F70-F81E9495ECB4}" dt="2023-08-14T17:28:50.658" v="6615" actId="207"/>
          <ac:spMkLst>
            <pc:docMk/>
            <pc:sldMk cId="3255581991" sldId="562"/>
            <ac:spMk id="15" creationId="{2F24004B-336B-D911-AF96-6BAEDE2E0BDB}"/>
          </ac:spMkLst>
        </pc:spChg>
        <pc:spChg chg="add mod">
          <ac:chgData name="Trauer" userId="aa8b9dc3-a64d-4cc6-bd4f-f46eb5f096c9" providerId="ADAL" clId="{5B76CEF1-A6E3-49E3-8F70-F81E9495ECB4}" dt="2023-08-14T17:28:50.658" v="6615" actId="207"/>
          <ac:spMkLst>
            <pc:docMk/>
            <pc:sldMk cId="3255581991" sldId="562"/>
            <ac:spMk id="17" creationId="{6AE48874-0FD2-A594-8CC1-BF44ADFF3BFD}"/>
          </ac:spMkLst>
        </pc:spChg>
        <pc:spChg chg="add mod">
          <ac:chgData name="Trauer" userId="aa8b9dc3-a64d-4cc6-bd4f-f46eb5f096c9" providerId="ADAL" clId="{5B76CEF1-A6E3-49E3-8F70-F81E9495ECB4}" dt="2023-08-14T17:28:50.658" v="6615" actId="207"/>
          <ac:spMkLst>
            <pc:docMk/>
            <pc:sldMk cId="3255581991" sldId="562"/>
            <ac:spMk id="18" creationId="{C58F6A93-F1FB-5A73-C09D-00C4B50C9F49}"/>
          </ac:spMkLst>
        </pc:spChg>
        <pc:spChg chg="add mod">
          <ac:chgData name="Trauer" userId="aa8b9dc3-a64d-4cc6-bd4f-f46eb5f096c9" providerId="ADAL" clId="{5B76CEF1-A6E3-49E3-8F70-F81E9495ECB4}" dt="2023-08-14T17:28:50.658" v="6615" actId="207"/>
          <ac:spMkLst>
            <pc:docMk/>
            <pc:sldMk cId="3255581991" sldId="562"/>
            <ac:spMk id="19" creationId="{451D63EB-2A0D-327A-EDFD-8590AA4DE490}"/>
          </ac:spMkLst>
        </pc:spChg>
        <pc:spChg chg="add mod">
          <ac:chgData name="Trauer" userId="aa8b9dc3-a64d-4cc6-bd4f-f46eb5f096c9" providerId="ADAL" clId="{5B76CEF1-A6E3-49E3-8F70-F81E9495ECB4}" dt="2023-08-14T17:28:50.658" v="6615" actId="207"/>
          <ac:spMkLst>
            <pc:docMk/>
            <pc:sldMk cId="3255581991" sldId="562"/>
            <ac:spMk id="22" creationId="{7D993561-B547-F629-A611-173FE6A85072}"/>
          </ac:spMkLst>
        </pc:spChg>
        <pc:spChg chg="add mod">
          <ac:chgData name="Trauer" userId="aa8b9dc3-a64d-4cc6-bd4f-f46eb5f096c9" providerId="ADAL" clId="{5B76CEF1-A6E3-49E3-8F70-F81E9495ECB4}" dt="2023-08-14T17:28:50.658" v="6615" actId="207"/>
          <ac:spMkLst>
            <pc:docMk/>
            <pc:sldMk cId="3255581991" sldId="562"/>
            <ac:spMk id="23" creationId="{B7BCE198-EDE6-5DF1-01AB-93C1C3BAD828}"/>
          </ac:spMkLst>
        </pc:spChg>
        <pc:spChg chg="mod">
          <ac:chgData name="Trauer" userId="aa8b9dc3-a64d-4cc6-bd4f-f46eb5f096c9" providerId="ADAL" clId="{5B76CEF1-A6E3-49E3-8F70-F81E9495ECB4}" dt="2023-08-14T17:03:08.162" v="3420"/>
          <ac:spMkLst>
            <pc:docMk/>
            <pc:sldMk cId="3255581991" sldId="562"/>
            <ac:spMk id="25" creationId="{220B297C-24B4-3271-5A42-7F386477C2A0}"/>
          </ac:spMkLst>
        </pc:spChg>
        <pc:spChg chg="mod">
          <ac:chgData name="Trauer" userId="aa8b9dc3-a64d-4cc6-bd4f-f46eb5f096c9" providerId="ADAL" clId="{5B76CEF1-A6E3-49E3-8F70-F81E9495ECB4}" dt="2023-08-14T17:03:08.162" v="3420"/>
          <ac:spMkLst>
            <pc:docMk/>
            <pc:sldMk cId="3255581991" sldId="562"/>
            <ac:spMk id="26" creationId="{3E18F4D8-04A0-AC16-2ECB-DE50BFACA91C}"/>
          </ac:spMkLst>
        </pc:spChg>
        <pc:spChg chg="mod">
          <ac:chgData name="Trauer" userId="aa8b9dc3-a64d-4cc6-bd4f-f46eb5f096c9" providerId="ADAL" clId="{5B76CEF1-A6E3-49E3-8F70-F81E9495ECB4}" dt="2023-08-14T17:03:08.162" v="3420"/>
          <ac:spMkLst>
            <pc:docMk/>
            <pc:sldMk cId="3255581991" sldId="562"/>
            <ac:spMk id="27" creationId="{42F32DEE-224C-C6FE-F32D-EE2879EC162D}"/>
          </ac:spMkLst>
        </pc:spChg>
        <pc:spChg chg="mod">
          <ac:chgData name="Trauer" userId="aa8b9dc3-a64d-4cc6-bd4f-f46eb5f096c9" providerId="ADAL" clId="{5B76CEF1-A6E3-49E3-8F70-F81E9495ECB4}" dt="2023-08-14T17:03:08.162" v="3420"/>
          <ac:spMkLst>
            <pc:docMk/>
            <pc:sldMk cId="3255581991" sldId="562"/>
            <ac:spMk id="28" creationId="{6EF2A65C-9FD1-0652-398A-3CD170CBC645}"/>
          </ac:spMkLst>
        </pc:spChg>
        <pc:spChg chg="mod">
          <ac:chgData name="Trauer" userId="aa8b9dc3-a64d-4cc6-bd4f-f46eb5f096c9" providerId="ADAL" clId="{5B76CEF1-A6E3-49E3-8F70-F81E9495ECB4}" dt="2023-08-14T17:03:08.162" v="3420"/>
          <ac:spMkLst>
            <pc:docMk/>
            <pc:sldMk cId="3255581991" sldId="562"/>
            <ac:spMk id="29" creationId="{BED10C85-30A2-3A2E-638A-BBB9640409AC}"/>
          </ac:spMkLst>
        </pc:spChg>
        <pc:spChg chg="add mod">
          <ac:chgData name="Trauer" userId="aa8b9dc3-a64d-4cc6-bd4f-f46eb5f096c9" providerId="ADAL" clId="{5B76CEF1-A6E3-49E3-8F70-F81E9495ECB4}" dt="2023-08-14T17:03:08.162" v="3420"/>
          <ac:spMkLst>
            <pc:docMk/>
            <pc:sldMk cId="3255581991" sldId="562"/>
            <ac:spMk id="30" creationId="{4C2331E1-5821-BF22-13D5-1D06401F2445}"/>
          </ac:spMkLst>
        </pc:spChg>
        <pc:spChg chg="add mod">
          <ac:chgData name="Trauer" userId="aa8b9dc3-a64d-4cc6-bd4f-f46eb5f096c9" providerId="ADAL" clId="{5B76CEF1-A6E3-49E3-8F70-F81E9495ECB4}" dt="2023-08-14T17:28:50.658" v="6615" actId="207"/>
          <ac:spMkLst>
            <pc:docMk/>
            <pc:sldMk cId="3255581991" sldId="562"/>
            <ac:spMk id="31" creationId="{8484C1A8-8A0B-BD8F-0D60-9469AD3B4AA8}"/>
          </ac:spMkLst>
        </pc:spChg>
        <pc:spChg chg="add mod">
          <ac:chgData name="Trauer" userId="aa8b9dc3-a64d-4cc6-bd4f-f46eb5f096c9" providerId="ADAL" clId="{5B76CEF1-A6E3-49E3-8F70-F81E9495ECB4}" dt="2023-08-14T17:28:50.658" v="6615" actId="207"/>
          <ac:spMkLst>
            <pc:docMk/>
            <pc:sldMk cId="3255581991" sldId="562"/>
            <ac:spMk id="32" creationId="{EB0E9EAC-2CD5-7672-4842-584B940FBF1F}"/>
          </ac:spMkLst>
        </pc:spChg>
        <pc:grpChg chg="add mod">
          <ac:chgData name="Trauer" userId="aa8b9dc3-a64d-4cc6-bd4f-f46eb5f096c9" providerId="ADAL" clId="{5B76CEF1-A6E3-49E3-8F70-F81E9495ECB4}" dt="2023-08-14T17:03:08.162" v="3420"/>
          <ac:grpSpMkLst>
            <pc:docMk/>
            <pc:sldMk cId="3255581991" sldId="562"/>
            <ac:grpSpMk id="24" creationId="{7F82300D-35EA-56AB-421E-9B501446CB8B}"/>
          </ac:grpSpMkLst>
        </pc:grpChg>
        <pc:graphicFrameChg chg="add mod">
          <ac:chgData name="Trauer" userId="aa8b9dc3-a64d-4cc6-bd4f-f46eb5f096c9" providerId="ADAL" clId="{5B76CEF1-A6E3-49E3-8F70-F81E9495ECB4}" dt="2023-08-14T17:05:36.836" v="3421" actId="465"/>
          <ac:graphicFrameMkLst>
            <pc:docMk/>
            <pc:sldMk cId="3255581991" sldId="562"/>
            <ac:graphicFrameMk id="16" creationId="{2870CDE5-B198-0E7E-AD2A-F705E90E5F67}"/>
          </ac:graphicFrameMkLst>
        </pc:graphicFrameChg>
        <pc:graphicFrameChg chg="add mod">
          <ac:chgData name="Trauer" userId="aa8b9dc3-a64d-4cc6-bd4f-f46eb5f096c9" providerId="ADAL" clId="{5B76CEF1-A6E3-49E3-8F70-F81E9495ECB4}" dt="2023-08-14T17:05:36.836" v="3421" actId="465"/>
          <ac:graphicFrameMkLst>
            <pc:docMk/>
            <pc:sldMk cId="3255581991" sldId="562"/>
            <ac:graphicFrameMk id="20" creationId="{EACECE58-0DCB-D26D-98BD-AF11575D3090}"/>
          </ac:graphicFrameMkLst>
        </pc:graphicFrameChg>
        <pc:graphicFrameChg chg="add mod">
          <ac:chgData name="Trauer" userId="aa8b9dc3-a64d-4cc6-bd4f-f46eb5f096c9" providerId="ADAL" clId="{5B76CEF1-A6E3-49E3-8F70-F81E9495ECB4}" dt="2023-08-14T17:03:08.162" v="3420"/>
          <ac:graphicFrameMkLst>
            <pc:docMk/>
            <pc:sldMk cId="3255581991" sldId="562"/>
            <ac:graphicFrameMk id="21" creationId="{EAB0112E-BCCC-B4F0-2F1E-A4D7FA96FD36}"/>
          </ac:graphicFrameMkLst>
        </pc:graphicFrameChg>
      </pc:sldChg>
      <pc:sldChg chg="new del">
        <pc:chgData name="Trauer" userId="aa8b9dc3-a64d-4cc6-bd4f-f46eb5f096c9" providerId="ADAL" clId="{5B76CEF1-A6E3-49E3-8F70-F81E9495ECB4}" dt="2023-08-14T16:09:24.290" v="2766" actId="47"/>
        <pc:sldMkLst>
          <pc:docMk/>
          <pc:sldMk cId="3764337468" sldId="562"/>
        </pc:sldMkLst>
      </pc:sldChg>
      <pc:sldChg chg="modSp new del">
        <pc:chgData name="Trauer" userId="aa8b9dc3-a64d-4cc6-bd4f-f46eb5f096c9" providerId="ADAL" clId="{5B76CEF1-A6E3-49E3-8F70-F81E9495ECB4}" dt="2023-08-14T16:09:24.290" v="2766" actId="47"/>
        <pc:sldMkLst>
          <pc:docMk/>
          <pc:sldMk cId="504513754" sldId="563"/>
        </pc:sldMkLst>
        <pc:spChg chg="mod">
          <ac:chgData name="Trauer" userId="aa8b9dc3-a64d-4cc6-bd4f-f46eb5f096c9" providerId="ADAL" clId="{5B76CEF1-A6E3-49E3-8F70-F81E9495ECB4}" dt="2023-08-14T16:07:43.250" v="2759"/>
          <ac:spMkLst>
            <pc:docMk/>
            <pc:sldMk cId="504513754" sldId="563"/>
            <ac:spMk id="2" creationId="{17705530-1859-7969-919F-993DB4009BB4}"/>
          </ac:spMkLst>
        </pc:spChg>
        <pc:spChg chg="mod">
          <ac:chgData name="Trauer" userId="aa8b9dc3-a64d-4cc6-bd4f-f46eb5f096c9" providerId="ADAL" clId="{5B76CEF1-A6E3-49E3-8F70-F81E9495ECB4}" dt="2023-08-14T16:07:43.250" v="2759"/>
          <ac:spMkLst>
            <pc:docMk/>
            <pc:sldMk cId="504513754" sldId="563"/>
            <ac:spMk id="3" creationId="{3CEF6D64-5569-968B-5158-0F12A442C532}"/>
          </ac:spMkLst>
        </pc:spChg>
        <pc:spChg chg="mod">
          <ac:chgData name="Trauer" userId="aa8b9dc3-a64d-4cc6-bd4f-f46eb5f096c9" providerId="ADAL" clId="{5B76CEF1-A6E3-49E3-8F70-F81E9495ECB4}" dt="2023-08-14T16:07:43.250" v="2759"/>
          <ac:spMkLst>
            <pc:docMk/>
            <pc:sldMk cId="504513754" sldId="563"/>
            <ac:spMk id="4" creationId="{AD50A83E-F54C-3E38-BE1C-E8245FD0AD82}"/>
          </ac:spMkLst>
        </pc:spChg>
        <pc:spChg chg="mod">
          <ac:chgData name="Trauer" userId="aa8b9dc3-a64d-4cc6-bd4f-f46eb5f096c9" providerId="ADAL" clId="{5B76CEF1-A6E3-49E3-8F70-F81E9495ECB4}" dt="2023-08-14T16:07:43.250" v="2759"/>
          <ac:spMkLst>
            <pc:docMk/>
            <pc:sldMk cId="504513754" sldId="563"/>
            <ac:spMk id="5" creationId="{19F52816-223A-2857-A101-CE7C9776496F}"/>
          </ac:spMkLst>
        </pc:spChg>
        <pc:spChg chg="mod">
          <ac:chgData name="Trauer" userId="aa8b9dc3-a64d-4cc6-bd4f-f46eb5f096c9" providerId="ADAL" clId="{5B76CEF1-A6E3-49E3-8F70-F81E9495ECB4}" dt="2023-08-14T16:07:43.250" v="2759"/>
          <ac:spMkLst>
            <pc:docMk/>
            <pc:sldMk cId="504513754" sldId="563"/>
            <ac:spMk id="6" creationId="{3D2E4C25-2847-B145-E704-173C522E48F6}"/>
          </ac:spMkLst>
        </pc:spChg>
        <pc:spChg chg="mod">
          <ac:chgData name="Trauer" userId="aa8b9dc3-a64d-4cc6-bd4f-f46eb5f096c9" providerId="ADAL" clId="{5B76CEF1-A6E3-49E3-8F70-F81E9495ECB4}" dt="2023-08-14T16:07:43.250" v="2759"/>
          <ac:spMkLst>
            <pc:docMk/>
            <pc:sldMk cId="504513754" sldId="563"/>
            <ac:spMk id="7" creationId="{E892FCFB-F779-5A0C-0F04-F5B6BBD9634B}"/>
          </ac:spMkLst>
        </pc:spChg>
        <pc:spChg chg="mod">
          <ac:chgData name="Trauer" userId="aa8b9dc3-a64d-4cc6-bd4f-f46eb5f096c9" providerId="ADAL" clId="{5B76CEF1-A6E3-49E3-8F70-F81E9495ECB4}" dt="2023-08-14T16:07:43.250" v="2759"/>
          <ac:spMkLst>
            <pc:docMk/>
            <pc:sldMk cId="504513754" sldId="563"/>
            <ac:spMk id="8" creationId="{9AEAC6C9-6878-3D5E-6DCF-75041BCF9AC1}"/>
          </ac:spMkLst>
        </pc:spChg>
        <pc:spChg chg="mod">
          <ac:chgData name="Trauer" userId="aa8b9dc3-a64d-4cc6-bd4f-f46eb5f096c9" providerId="ADAL" clId="{5B76CEF1-A6E3-49E3-8F70-F81E9495ECB4}" dt="2023-08-14T16:07:43.250" v="2759"/>
          <ac:spMkLst>
            <pc:docMk/>
            <pc:sldMk cId="504513754" sldId="563"/>
            <ac:spMk id="9" creationId="{876EC0CE-4728-52A8-68CC-EEB46F966A58}"/>
          </ac:spMkLst>
        </pc:spChg>
        <pc:spChg chg="mod">
          <ac:chgData name="Trauer" userId="aa8b9dc3-a64d-4cc6-bd4f-f46eb5f096c9" providerId="ADAL" clId="{5B76CEF1-A6E3-49E3-8F70-F81E9495ECB4}" dt="2023-08-14T16:07:43.250" v="2759"/>
          <ac:spMkLst>
            <pc:docMk/>
            <pc:sldMk cId="504513754" sldId="563"/>
            <ac:spMk id="10" creationId="{1903CD1D-FBB9-361D-616D-4B3A658C918A}"/>
          </ac:spMkLst>
        </pc:spChg>
        <pc:spChg chg="mod">
          <ac:chgData name="Trauer" userId="aa8b9dc3-a64d-4cc6-bd4f-f46eb5f096c9" providerId="ADAL" clId="{5B76CEF1-A6E3-49E3-8F70-F81E9495ECB4}" dt="2023-08-14T16:07:43.250" v="2759"/>
          <ac:spMkLst>
            <pc:docMk/>
            <pc:sldMk cId="504513754" sldId="563"/>
            <ac:spMk id="11" creationId="{E2FC1DFD-46C8-881A-1674-999224CD68BE}"/>
          </ac:spMkLst>
        </pc:spChg>
      </pc:sldChg>
      <pc:sldChg chg="addSp modSp new mod modTransition">
        <pc:chgData name="Trauer" userId="aa8b9dc3-a64d-4cc6-bd4f-f46eb5f096c9" providerId="ADAL" clId="{5B76CEF1-A6E3-49E3-8F70-F81E9495ECB4}" dt="2023-08-14T17:30:17.663" v="6627" actId="34135"/>
        <pc:sldMkLst>
          <pc:docMk/>
          <pc:sldMk cId="2411693904" sldId="563"/>
        </pc:sldMkLst>
        <pc:spChg chg="mod">
          <ac:chgData name="Trauer" userId="aa8b9dc3-a64d-4cc6-bd4f-f46eb5f096c9" providerId="ADAL" clId="{5B76CEF1-A6E3-49E3-8F70-F81E9495ECB4}" dt="2023-08-14T16:13:02.303" v="3013" actId="20577"/>
          <ac:spMkLst>
            <pc:docMk/>
            <pc:sldMk cId="2411693904" sldId="563"/>
            <ac:spMk id="12" creationId="{F6D49398-3B33-FC44-984A-844EBB7D375F}"/>
          </ac:spMkLst>
        </pc:spChg>
        <pc:spChg chg="add mod">
          <ac:chgData name="Trauer" userId="aa8b9dc3-a64d-4cc6-bd4f-f46eb5f096c9" providerId="ADAL" clId="{5B76CEF1-A6E3-49E3-8F70-F81E9495ECB4}" dt="2023-08-14T17:12:03.178" v="6423" actId="1076"/>
          <ac:spMkLst>
            <pc:docMk/>
            <pc:sldMk cId="2411693904" sldId="563"/>
            <ac:spMk id="13" creationId="{5FE22132-FE04-CE6F-3C2D-73C81BB28205}"/>
          </ac:spMkLst>
        </pc:spChg>
        <pc:spChg chg="add mod">
          <ac:chgData name="Trauer" userId="aa8b9dc3-a64d-4cc6-bd4f-f46eb5f096c9" providerId="ADAL" clId="{5B76CEF1-A6E3-49E3-8F70-F81E9495ECB4}" dt="2023-08-14T17:30:17.663" v="6627" actId="34135"/>
          <ac:spMkLst>
            <pc:docMk/>
            <pc:sldMk cId="2411693904" sldId="563"/>
            <ac:spMk id="14" creationId="{AF9C8AFD-060C-59AF-97F3-7B78DC22AE90}"/>
          </ac:spMkLst>
        </pc:spChg>
        <pc:spChg chg="add mod">
          <ac:chgData name="Trauer" userId="aa8b9dc3-a64d-4cc6-bd4f-f46eb5f096c9" providerId="ADAL" clId="{5B76CEF1-A6E3-49E3-8F70-F81E9495ECB4}" dt="2023-08-14T17:30:17.663" v="6627" actId="34135"/>
          <ac:spMkLst>
            <pc:docMk/>
            <pc:sldMk cId="2411693904" sldId="563"/>
            <ac:spMk id="15" creationId="{0C3F9FBF-D775-1A00-053F-E513E3C55AB6}"/>
          </ac:spMkLst>
        </pc:spChg>
        <pc:spChg chg="add mod">
          <ac:chgData name="Trauer" userId="aa8b9dc3-a64d-4cc6-bd4f-f46eb5f096c9" providerId="ADAL" clId="{5B76CEF1-A6E3-49E3-8F70-F81E9495ECB4}" dt="2023-08-14T17:30:17.663" v="6627" actId="34135"/>
          <ac:spMkLst>
            <pc:docMk/>
            <pc:sldMk cId="2411693904" sldId="563"/>
            <ac:spMk id="16" creationId="{8040CA20-4C3D-BB25-A25E-C611A37FEC0B}"/>
          </ac:spMkLst>
        </pc:spChg>
        <pc:spChg chg="add mod">
          <ac:chgData name="Trauer" userId="aa8b9dc3-a64d-4cc6-bd4f-f46eb5f096c9" providerId="ADAL" clId="{5B76CEF1-A6E3-49E3-8F70-F81E9495ECB4}" dt="2023-08-14T17:30:17.663" v="6627" actId="34135"/>
          <ac:spMkLst>
            <pc:docMk/>
            <pc:sldMk cId="2411693904" sldId="563"/>
            <ac:spMk id="17" creationId="{C2EB428C-8398-8304-D3BE-46562585E11D}"/>
          </ac:spMkLst>
        </pc:spChg>
        <pc:spChg chg="add mod">
          <ac:chgData name="Trauer" userId="aa8b9dc3-a64d-4cc6-bd4f-f46eb5f096c9" providerId="ADAL" clId="{5B76CEF1-A6E3-49E3-8F70-F81E9495ECB4}" dt="2023-08-14T17:30:17.663" v="6627" actId="34135"/>
          <ac:spMkLst>
            <pc:docMk/>
            <pc:sldMk cId="2411693904" sldId="563"/>
            <ac:spMk id="18" creationId="{E2C2F207-FF5B-43EF-E471-AE95AC7D116E}"/>
          </ac:spMkLst>
        </pc:spChg>
        <pc:spChg chg="add mod">
          <ac:chgData name="Trauer" userId="aa8b9dc3-a64d-4cc6-bd4f-f46eb5f096c9" providerId="ADAL" clId="{5B76CEF1-A6E3-49E3-8F70-F81E9495ECB4}" dt="2023-08-14T17:30:17.663" v="6627" actId="34135"/>
          <ac:spMkLst>
            <pc:docMk/>
            <pc:sldMk cId="2411693904" sldId="563"/>
            <ac:spMk id="19" creationId="{BECD6400-6D5E-D9E7-0BEC-8D1F19630915}"/>
          </ac:spMkLst>
        </pc:spChg>
        <pc:spChg chg="add mod">
          <ac:chgData name="Trauer" userId="aa8b9dc3-a64d-4cc6-bd4f-f46eb5f096c9" providerId="ADAL" clId="{5B76CEF1-A6E3-49E3-8F70-F81E9495ECB4}" dt="2023-08-14T17:30:17.663" v="6627" actId="34135"/>
          <ac:spMkLst>
            <pc:docMk/>
            <pc:sldMk cId="2411693904" sldId="563"/>
            <ac:spMk id="20" creationId="{B84EF0BA-5396-8EAF-EC77-4C869E386900}"/>
          </ac:spMkLst>
        </pc:spChg>
        <pc:spChg chg="add mod">
          <ac:chgData name="Trauer" userId="aa8b9dc3-a64d-4cc6-bd4f-f46eb5f096c9" providerId="ADAL" clId="{5B76CEF1-A6E3-49E3-8F70-F81E9495ECB4}" dt="2023-08-14T17:30:17.663" v="6627" actId="34135"/>
          <ac:spMkLst>
            <pc:docMk/>
            <pc:sldMk cId="2411693904" sldId="563"/>
            <ac:spMk id="21" creationId="{D0F2A0FC-88C7-E3C8-D16C-70B6A79F4995}"/>
          </ac:spMkLst>
        </pc:spChg>
        <pc:spChg chg="mod">
          <ac:chgData name="Trauer" userId="aa8b9dc3-a64d-4cc6-bd4f-f46eb5f096c9" providerId="ADAL" clId="{5B76CEF1-A6E3-49E3-8F70-F81E9495ECB4}" dt="2023-08-14T17:11:55.125" v="6409"/>
          <ac:spMkLst>
            <pc:docMk/>
            <pc:sldMk cId="2411693904" sldId="563"/>
            <ac:spMk id="23" creationId="{A1BEE828-D590-704D-AE65-8DEF47461C52}"/>
          </ac:spMkLst>
        </pc:spChg>
        <pc:spChg chg="mod">
          <ac:chgData name="Trauer" userId="aa8b9dc3-a64d-4cc6-bd4f-f46eb5f096c9" providerId="ADAL" clId="{5B76CEF1-A6E3-49E3-8F70-F81E9495ECB4}" dt="2023-08-14T17:11:55.142" v="6411" actId="299"/>
          <ac:spMkLst>
            <pc:docMk/>
            <pc:sldMk cId="2411693904" sldId="563"/>
            <ac:spMk id="24" creationId="{02BDA8FF-8B43-A508-A243-BEA7B95FF2CE}"/>
          </ac:spMkLst>
        </pc:spChg>
        <pc:spChg chg="mod">
          <ac:chgData name="Trauer" userId="aa8b9dc3-a64d-4cc6-bd4f-f46eb5f096c9" providerId="ADAL" clId="{5B76CEF1-A6E3-49E3-8F70-F81E9495ECB4}" dt="2023-08-14T17:11:55.125" v="6409"/>
          <ac:spMkLst>
            <pc:docMk/>
            <pc:sldMk cId="2411693904" sldId="563"/>
            <ac:spMk id="25" creationId="{52242E66-3547-66E4-C86F-9D0FF4A29AC8}"/>
          </ac:spMkLst>
        </pc:spChg>
        <pc:spChg chg="mod">
          <ac:chgData name="Trauer" userId="aa8b9dc3-a64d-4cc6-bd4f-f46eb5f096c9" providerId="ADAL" clId="{5B76CEF1-A6E3-49E3-8F70-F81E9495ECB4}" dt="2023-08-14T17:11:55.125" v="6409"/>
          <ac:spMkLst>
            <pc:docMk/>
            <pc:sldMk cId="2411693904" sldId="563"/>
            <ac:spMk id="27" creationId="{CDAE8F3A-3087-1034-C39A-21234AB12988}"/>
          </ac:spMkLst>
        </pc:spChg>
        <pc:spChg chg="mod">
          <ac:chgData name="Trauer" userId="aa8b9dc3-a64d-4cc6-bd4f-f46eb5f096c9" providerId="ADAL" clId="{5B76CEF1-A6E3-49E3-8F70-F81E9495ECB4}" dt="2023-08-14T17:11:55.145" v="6413" actId="299"/>
          <ac:spMkLst>
            <pc:docMk/>
            <pc:sldMk cId="2411693904" sldId="563"/>
            <ac:spMk id="28" creationId="{DFF9F921-8E13-3F14-E977-A4D0E6B52226}"/>
          </ac:spMkLst>
        </pc:spChg>
        <pc:spChg chg="mod">
          <ac:chgData name="Trauer" userId="aa8b9dc3-a64d-4cc6-bd4f-f46eb5f096c9" providerId="ADAL" clId="{5B76CEF1-A6E3-49E3-8F70-F81E9495ECB4}" dt="2023-08-14T17:11:55.125" v="6409"/>
          <ac:spMkLst>
            <pc:docMk/>
            <pc:sldMk cId="2411693904" sldId="563"/>
            <ac:spMk id="29" creationId="{AF244B72-D7DD-C673-D305-74B06B6D239C}"/>
          </ac:spMkLst>
        </pc:spChg>
        <pc:spChg chg="mod">
          <ac:chgData name="Trauer" userId="aa8b9dc3-a64d-4cc6-bd4f-f46eb5f096c9" providerId="ADAL" clId="{5B76CEF1-A6E3-49E3-8F70-F81E9495ECB4}" dt="2023-08-14T17:11:55.125" v="6409"/>
          <ac:spMkLst>
            <pc:docMk/>
            <pc:sldMk cId="2411693904" sldId="563"/>
            <ac:spMk id="31" creationId="{A7330BD0-F8D6-58B0-B8FC-4A157E044EDE}"/>
          </ac:spMkLst>
        </pc:spChg>
        <pc:spChg chg="mod">
          <ac:chgData name="Trauer" userId="aa8b9dc3-a64d-4cc6-bd4f-f46eb5f096c9" providerId="ADAL" clId="{5B76CEF1-A6E3-49E3-8F70-F81E9495ECB4}" dt="2023-08-14T17:11:55.150" v="6415" actId="299"/>
          <ac:spMkLst>
            <pc:docMk/>
            <pc:sldMk cId="2411693904" sldId="563"/>
            <ac:spMk id="32" creationId="{5DA5EBA3-C546-EA8B-32F4-6054B4342DC3}"/>
          </ac:spMkLst>
        </pc:spChg>
        <pc:spChg chg="mod">
          <ac:chgData name="Trauer" userId="aa8b9dc3-a64d-4cc6-bd4f-f46eb5f096c9" providerId="ADAL" clId="{5B76CEF1-A6E3-49E3-8F70-F81E9495ECB4}" dt="2023-08-14T17:11:55.125" v="6409"/>
          <ac:spMkLst>
            <pc:docMk/>
            <pc:sldMk cId="2411693904" sldId="563"/>
            <ac:spMk id="33" creationId="{15A15901-AA12-C5E6-7711-1D2E0637CF8F}"/>
          </ac:spMkLst>
        </pc:spChg>
        <pc:spChg chg="mod">
          <ac:chgData name="Trauer" userId="aa8b9dc3-a64d-4cc6-bd4f-f46eb5f096c9" providerId="ADAL" clId="{5B76CEF1-A6E3-49E3-8F70-F81E9495ECB4}" dt="2023-08-14T17:11:55.125" v="6409"/>
          <ac:spMkLst>
            <pc:docMk/>
            <pc:sldMk cId="2411693904" sldId="563"/>
            <ac:spMk id="35" creationId="{D50DF900-2414-28AB-9A9D-FDDD68001788}"/>
          </ac:spMkLst>
        </pc:spChg>
        <pc:spChg chg="mod">
          <ac:chgData name="Trauer" userId="aa8b9dc3-a64d-4cc6-bd4f-f46eb5f096c9" providerId="ADAL" clId="{5B76CEF1-A6E3-49E3-8F70-F81E9495ECB4}" dt="2023-08-14T17:11:55.153" v="6417" actId="299"/>
          <ac:spMkLst>
            <pc:docMk/>
            <pc:sldMk cId="2411693904" sldId="563"/>
            <ac:spMk id="36" creationId="{F7006E7E-9B4F-070F-3220-D64933408BD0}"/>
          </ac:spMkLst>
        </pc:spChg>
        <pc:spChg chg="mod">
          <ac:chgData name="Trauer" userId="aa8b9dc3-a64d-4cc6-bd4f-f46eb5f096c9" providerId="ADAL" clId="{5B76CEF1-A6E3-49E3-8F70-F81E9495ECB4}" dt="2023-08-14T17:11:55.125" v="6409"/>
          <ac:spMkLst>
            <pc:docMk/>
            <pc:sldMk cId="2411693904" sldId="563"/>
            <ac:spMk id="37" creationId="{65C15AEC-783F-CE76-06E8-461415B7E109}"/>
          </ac:spMkLst>
        </pc:spChg>
        <pc:spChg chg="mod">
          <ac:chgData name="Trauer" userId="aa8b9dc3-a64d-4cc6-bd4f-f46eb5f096c9" providerId="ADAL" clId="{5B76CEF1-A6E3-49E3-8F70-F81E9495ECB4}" dt="2023-08-14T17:11:55.125" v="6409"/>
          <ac:spMkLst>
            <pc:docMk/>
            <pc:sldMk cId="2411693904" sldId="563"/>
            <ac:spMk id="39" creationId="{D0F2EFFE-4244-18A4-8C44-38D7F7B35CC0}"/>
          </ac:spMkLst>
        </pc:spChg>
        <pc:spChg chg="mod">
          <ac:chgData name="Trauer" userId="aa8b9dc3-a64d-4cc6-bd4f-f46eb5f096c9" providerId="ADAL" clId="{5B76CEF1-A6E3-49E3-8F70-F81E9495ECB4}" dt="2023-08-14T17:11:55.158" v="6419" actId="299"/>
          <ac:spMkLst>
            <pc:docMk/>
            <pc:sldMk cId="2411693904" sldId="563"/>
            <ac:spMk id="40" creationId="{2C57F53E-C876-0C07-9995-27A77D01732E}"/>
          </ac:spMkLst>
        </pc:spChg>
        <pc:spChg chg="mod">
          <ac:chgData name="Trauer" userId="aa8b9dc3-a64d-4cc6-bd4f-f46eb5f096c9" providerId="ADAL" clId="{5B76CEF1-A6E3-49E3-8F70-F81E9495ECB4}" dt="2023-08-14T17:11:55.125" v="6409"/>
          <ac:spMkLst>
            <pc:docMk/>
            <pc:sldMk cId="2411693904" sldId="563"/>
            <ac:spMk id="41" creationId="{7807D8D1-32E8-E2AF-FE40-6A7668319731}"/>
          </ac:spMkLst>
        </pc:spChg>
        <pc:spChg chg="mod">
          <ac:chgData name="Trauer" userId="aa8b9dc3-a64d-4cc6-bd4f-f46eb5f096c9" providerId="ADAL" clId="{5B76CEF1-A6E3-49E3-8F70-F81E9495ECB4}" dt="2023-08-14T17:11:55.125" v="6409"/>
          <ac:spMkLst>
            <pc:docMk/>
            <pc:sldMk cId="2411693904" sldId="563"/>
            <ac:spMk id="43" creationId="{C72E68C2-B243-0463-AE06-B093A9EDE4BB}"/>
          </ac:spMkLst>
        </pc:spChg>
        <pc:spChg chg="mod">
          <ac:chgData name="Trauer" userId="aa8b9dc3-a64d-4cc6-bd4f-f46eb5f096c9" providerId="ADAL" clId="{5B76CEF1-A6E3-49E3-8F70-F81E9495ECB4}" dt="2023-08-14T17:11:55.161" v="6421" actId="299"/>
          <ac:spMkLst>
            <pc:docMk/>
            <pc:sldMk cId="2411693904" sldId="563"/>
            <ac:spMk id="44" creationId="{7AAFC80B-9639-CADB-D8DF-4E23D59292C5}"/>
          </ac:spMkLst>
        </pc:spChg>
        <pc:spChg chg="mod">
          <ac:chgData name="Trauer" userId="aa8b9dc3-a64d-4cc6-bd4f-f46eb5f096c9" providerId="ADAL" clId="{5B76CEF1-A6E3-49E3-8F70-F81E9495ECB4}" dt="2023-08-14T17:11:55.125" v="6409"/>
          <ac:spMkLst>
            <pc:docMk/>
            <pc:sldMk cId="2411693904" sldId="563"/>
            <ac:spMk id="45" creationId="{440E0CE5-7C95-927D-0343-4A38927941DE}"/>
          </ac:spMkLst>
        </pc:spChg>
        <pc:grpChg chg="add mod">
          <ac:chgData name="Trauer" userId="aa8b9dc3-a64d-4cc6-bd4f-f46eb5f096c9" providerId="ADAL" clId="{5B76CEF1-A6E3-49E3-8F70-F81E9495ECB4}" dt="2023-08-14T17:11:55.125" v="6409"/>
          <ac:grpSpMkLst>
            <pc:docMk/>
            <pc:sldMk cId="2411693904" sldId="563"/>
            <ac:grpSpMk id="22" creationId="{9F8C7B19-8E19-481A-9A16-29CEA940B726}"/>
          </ac:grpSpMkLst>
        </pc:grpChg>
        <pc:grpChg chg="add mod">
          <ac:chgData name="Trauer" userId="aa8b9dc3-a64d-4cc6-bd4f-f46eb5f096c9" providerId="ADAL" clId="{5B76CEF1-A6E3-49E3-8F70-F81E9495ECB4}" dt="2023-08-14T17:11:55.125" v="6409"/>
          <ac:grpSpMkLst>
            <pc:docMk/>
            <pc:sldMk cId="2411693904" sldId="563"/>
            <ac:grpSpMk id="26" creationId="{1101E7CA-DB28-16D0-B373-82540FCE739F}"/>
          </ac:grpSpMkLst>
        </pc:grpChg>
        <pc:grpChg chg="add mod">
          <ac:chgData name="Trauer" userId="aa8b9dc3-a64d-4cc6-bd4f-f46eb5f096c9" providerId="ADAL" clId="{5B76CEF1-A6E3-49E3-8F70-F81E9495ECB4}" dt="2023-08-14T17:11:55.125" v="6409"/>
          <ac:grpSpMkLst>
            <pc:docMk/>
            <pc:sldMk cId="2411693904" sldId="563"/>
            <ac:grpSpMk id="30" creationId="{2865DC53-E359-AEBA-7EA7-E87F41472E32}"/>
          </ac:grpSpMkLst>
        </pc:grpChg>
        <pc:grpChg chg="add mod">
          <ac:chgData name="Trauer" userId="aa8b9dc3-a64d-4cc6-bd4f-f46eb5f096c9" providerId="ADAL" clId="{5B76CEF1-A6E3-49E3-8F70-F81E9495ECB4}" dt="2023-08-14T17:11:55.125" v="6409"/>
          <ac:grpSpMkLst>
            <pc:docMk/>
            <pc:sldMk cId="2411693904" sldId="563"/>
            <ac:grpSpMk id="34" creationId="{1F2F9A51-08B1-05F4-362B-04989524C4BD}"/>
          </ac:grpSpMkLst>
        </pc:grpChg>
        <pc:grpChg chg="add mod">
          <ac:chgData name="Trauer" userId="aa8b9dc3-a64d-4cc6-bd4f-f46eb5f096c9" providerId="ADAL" clId="{5B76CEF1-A6E3-49E3-8F70-F81E9495ECB4}" dt="2023-08-14T17:11:55.125" v="6409"/>
          <ac:grpSpMkLst>
            <pc:docMk/>
            <pc:sldMk cId="2411693904" sldId="563"/>
            <ac:grpSpMk id="38" creationId="{7654C52A-9318-BB3E-E439-DFB6AD3DCA36}"/>
          </ac:grpSpMkLst>
        </pc:grpChg>
        <pc:grpChg chg="add mod">
          <ac:chgData name="Trauer" userId="aa8b9dc3-a64d-4cc6-bd4f-f46eb5f096c9" providerId="ADAL" clId="{5B76CEF1-A6E3-49E3-8F70-F81E9495ECB4}" dt="2023-08-14T17:11:55.125" v="6409"/>
          <ac:grpSpMkLst>
            <pc:docMk/>
            <pc:sldMk cId="2411693904" sldId="563"/>
            <ac:grpSpMk id="42" creationId="{F78EE3EF-618F-471E-98D0-46F024B4FE12}"/>
          </ac:grpSpMkLst>
        </pc:grpChg>
      </pc:sldChg>
      <pc:sldChg chg="new del">
        <pc:chgData name="Trauer" userId="aa8b9dc3-a64d-4cc6-bd4f-f46eb5f096c9" providerId="ADAL" clId="{5B76CEF1-A6E3-49E3-8F70-F81E9495ECB4}" dt="2023-08-14T16:10:19.092" v="2779" actId="47"/>
        <pc:sldMkLst>
          <pc:docMk/>
          <pc:sldMk cId="2883406076" sldId="563"/>
        </pc:sldMkLst>
      </pc:sldChg>
      <pc:sldChg chg="addSp delSp modSp new mod modTransition">
        <pc:chgData name="Trauer" userId="aa8b9dc3-a64d-4cc6-bd4f-f46eb5f096c9" providerId="ADAL" clId="{5B76CEF1-A6E3-49E3-8F70-F81E9495ECB4}" dt="2023-08-14T17:30:10.355" v="6626" actId="34135"/>
        <pc:sldMkLst>
          <pc:docMk/>
          <pc:sldMk cId="591085830" sldId="564"/>
        </pc:sldMkLst>
        <pc:spChg chg="mod">
          <ac:chgData name="Trauer" userId="aa8b9dc3-a64d-4cc6-bd4f-f46eb5f096c9" providerId="ADAL" clId="{5B76CEF1-A6E3-49E3-8F70-F81E9495ECB4}" dt="2023-08-14T16:13:15.885" v="3035" actId="20577"/>
          <ac:spMkLst>
            <pc:docMk/>
            <pc:sldMk cId="591085830" sldId="564"/>
            <ac:spMk id="3" creationId="{9B0DB016-71B7-BFF7-35EF-9AC907E63769}"/>
          </ac:spMkLst>
        </pc:spChg>
        <pc:spChg chg="add del mod">
          <ac:chgData name="Trauer" userId="aa8b9dc3-a64d-4cc6-bd4f-f46eb5f096c9" providerId="ADAL" clId="{5B76CEF1-A6E3-49E3-8F70-F81E9495ECB4}" dt="2023-08-14T16:48:53.790" v="3291"/>
          <ac:spMkLst>
            <pc:docMk/>
            <pc:sldMk cId="591085830" sldId="564"/>
            <ac:spMk id="4" creationId="{52D615F1-C7CC-51DB-8F02-6D83EF1E4139}"/>
          </ac:spMkLst>
        </pc:spChg>
        <pc:spChg chg="add del mod">
          <ac:chgData name="Trauer" userId="aa8b9dc3-a64d-4cc6-bd4f-f46eb5f096c9" providerId="ADAL" clId="{5B76CEF1-A6E3-49E3-8F70-F81E9495ECB4}" dt="2023-08-14T16:48:53.790" v="3291"/>
          <ac:spMkLst>
            <pc:docMk/>
            <pc:sldMk cId="591085830" sldId="564"/>
            <ac:spMk id="5" creationId="{3F0704D9-D76C-D411-BB91-44096D9E64E2}"/>
          </ac:spMkLst>
        </pc:spChg>
        <pc:spChg chg="add del mod">
          <ac:chgData name="Trauer" userId="aa8b9dc3-a64d-4cc6-bd4f-f46eb5f096c9" providerId="ADAL" clId="{5B76CEF1-A6E3-49E3-8F70-F81E9495ECB4}" dt="2023-08-14T16:48:53.790" v="3291"/>
          <ac:spMkLst>
            <pc:docMk/>
            <pc:sldMk cId="591085830" sldId="564"/>
            <ac:spMk id="6" creationId="{4D120DFF-ACA7-C2F1-6F58-AAF6AA94B221}"/>
          </ac:spMkLst>
        </pc:spChg>
        <pc:spChg chg="add del mod">
          <ac:chgData name="Trauer" userId="aa8b9dc3-a64d-4cc6-bd4f-f46eb5f096c9" providerId="ADAL" clId="{5B76CEF1-A6E3-49E3-8F70-F81E9495ECB4}" dt="2023-08-14T16:48:53.790" v="3291"/>
          <ac:spMkLst>
            <pc:docMk/>
            <pc:sldMk cId="591085830" sldId="564"/>
            <ac:spMk id="7" creationId="{83EF4C7C-D1CF-235F-D4D8-8C27DC298C5D}"/>
          </ac:spMkLst>
        </pc:spChg>
        <pc:spChg chg="add del mod">
          <ac:chgData name="Trauer" userId="aa8b9dc3-a64d-4cc6-bd4f-f46eb5f096c9" providerId="ADAL" clId="{5B76CEF1-A6E3-49E3-8F70-F81E9495ECB4}" dt="2023-08-14T16:48:53.790" v="3291"/>
          <ac:spMkLst>
            <pc:docMk/>
            <pc:sldMk cId="591085830" sldId="564"/>
            <ac:spMk id="8" creationId="{DEC7FA15-F908-0662-BD3F-4693A6D001D7}"/>
          </ac:spMkLst>
        </pc:spChg>
        <pc:spChg chg="add del mod">
          <ac:chgData name="Trauer" userId="aa8b9dc3-a64d-4cc6-bd4f-f46eb5f096c9" providerId="ADAL" clId="{5B76CEF1-A6E3-49E3-8F70-F81E9495ECB4}" dt="2023-08-14T16:48:53.790" v="3291"/>
          <ac:spMkLst>
            <pc:docMk/>
            <pc:sldMk cId="591085830" sldId="564"/>
            <ac:spMk id="9" creationId="{6E214483-FFDC-CFB0-EC7F-2A67EE30A16B}"/>
          </ac:spMkLst>
        </pc:spChg>
        <pc:spChg chg="add del mod">
          <ac:chgData name="Trauer" userId="aa8b9dc3-a64d-4cc6-bd4f-f46eb5f096c9" providerId="ADAL" clId="{5B76CEF1-A6E3-49E3-8F70-F81E9495ECB4}" dt="2023-08-14T16:48:53.790" v="3291"/>
          <ac:spMkLst>
            <pc:docMk/>
            <pc:sldMk cId="591085830" sldId="564"/>
            <ac:spMk id="10" creationId="{ADE4AA83-A673-347E-5F45-FB90F3525B05}"/>
          </ac:spMkLst>
        </pc:spChg>
        <pc:spChg chg="add del mod">
          <ac:chgData name="Trauer" userId="aa8b9dc3-a64d-4cc6-bd4f-f46eb5f096c9" providerId="ADAL" clId="{5B76CEF1-A6E3-49E3-8F70-F81E9495ECB4}" dt="2023-08-14T16:48:53.790" v="3291"/>
          <ac:spMkLst>
            <pc:docMk/>
            <pc:sldMk cId="591085830" sldId="564"/>
            <ac:spMk id="11" creationId="{E0F73816-E604-D301-86FE-3ADA3FBED5AD}"/>
          </ac:spMkLst>
        </pc:spChg>
        <pc:spChg chg="add del mod">
          <ac:chgData name="Trauer" userId="aa8b9dc3-a64d-4cc6-bd4f-f46eb5f096c9" providerId="ADAL" clId="{5B76CEF1-A6E3-49E3-8F70-F81E9495ECB4}" dt="2023-08-14T16:48:53.790" v="3291"/>
          <ac:spMkLst>
            <pc:docMk/>
            <pc:sldMk cId="591085830" sldId="564"/>
            <ac:spMk id="12" creationId="{A3E57AFA-8A91-B218-37A4-AB6987B64B8A}"/>
          </ac:spMkLst>
        </pc:spChg>
        <pc:spChg chg="add mod ord">
          <ac:chgData name="Trauer" userId="aa8b9dc3-a64d-4cc6-bd4f-f46eb5f096c9" providerId="ADAL" clId="{5B76CEF1-A6E3-49E3-8F70-F81E9495ECB4}" dt="2023-08-14T16:53:05.779" v="3337" actId="13244"/>
          <ac:spMkLst>
            <pc:docMk/>
            <pc:sldMk cId="591085830" sldId="564"/>
            <ac:spMk id="13" creationId="{A2C5B0FC-5AF5-E8B8-8987-3505CD44E3A3}"/>
          </ac:spMkLst>
        </pc:spChg>
        <pc:spChg chg="add mod">
          <ac:chgData name="Trauer" userId="aa8b9dc3-a64d-4cc6-bd4f-f46eb5f096c9" providerId="ADAL" clId="{5B76CEF1-A6E3-49E3-8F70-F81E9495ECB4}" dt="2023-08-14T17:30:10.355" v="6626" actId="34135"/>
          <ac:spMkLst>
            <pc:docMk/>
            <pc:sldMk cId="591085830" sldId="564"/>
            <ac:spMk id="14" creationId="{25839DDA-FA73-4133-3A91-5B4AF92B8B78}"/>
          </ac:spMkLst>
        </pc:spChg>
        <pc:spChg chg="add mod">
          <ac:chgData name="Trauer" userId="aa8b9dc3-a64d-4cc6-bd4f-f46eb5f096c9" providerId="ADAL" clId="{5B76CEF1-A6E3-49E3-8F70-F81E9495ECB4}" dt="2023-08-14T17:30:10.355" v="6626" actId="34135"/>
          <ac:spMkLst>
            <pc:docMk/>
            <pc:sldMk cId="591085830" sldId="564"/>
            <ac:spMk id="15" creationId="{03D51356-97FC-0472-731C-5B9623F90F97}"/>
          </ac:spMkLst>
        </pc:spChg>
        <pc:spChg chg="add mod">
          <ac:chgData name="Trauer" userId="aa8b9dc3-a64d-4cc6-bd4f-f46eb5f096c9" providerId="ADAL" clId="{5B76CEF1-A6E3-49E3-8F70-F81E9495ECB4}" dt="2023-08-14T17:30:10.355" v="6626" actId="34135"/>
          <ac:spMkLst>
            <pc:docMk/>
            <pc:sldMk cId="591085830" sldId="564"/>
            <ac:spMk id="16" creationId="{C301B23F-5F64-6CE0-E022-E38C077EB090}"/>
          </ac:spMkLst>
        </pc:spChg>
        <pc:spChg chg="add mod">
          <ac:chgData name="Trauer" userId="aa8b9dc3-a64d-4cc6-bd4f-f46eb5f096c9" providerId="ADAL" clId="{5B76CEF1-A6E3-49E3-8F70-F81E9495ECB4}" dt="2023-08-14T17:30:10.355" v="6626" actId="34135"/>
          <ac:spMkLst>
            <pc:docMk/>
            <pc:sldMk cId="591085830" sldId="564"/>
            <ac:spMk id="17" creationId="{BAAAA99F-2F7F-96B4-1A63-4633B8DBDCF5}"/>
          </ac:spMkLst>
        </pc:spChg>
        <pc:spChg chg="add mod">
          <ac:chgData name="Trauer" userId="aa8b9dc3-a64d-4cc6-bd4f-f46eb5f096c9" providerId="ADAL" clId="{5B76CEF1-A6E3-49E3-8F70-F81E9495ECB4}" dt="2023-08-14T17:30:10.355" v="6626" actId="34135"/>
          <ac:spMkLst>
            <pc:docMk/>
            <pc:sldMk cId="591085830" sldId="564"/>
            <ac:spMk id="18" creationId="{6AC668B8-EF09-A57D-6AFC-2F127E4AD91E}"/>
          </ac:spMkLst>
        </pc:spChg>
        <pc:spChg chg="add mod">
          <ac:chgData name="Trauer" userId="aa8b9dc3-a64d-4cc6-bd4f-f46eb5f096c9" providerId="ADAL" clId="{5B76CEF1-A6E3-49E3-8F70-F81E9495ECB4}" dt="2023-08-14T17:30:10.355" v="6626" actId="34135"/>
          <ac:spMkLst>
            <pc:docMk/>
            <pc:sldMk cId="591085830" sldId="564"/>
            <ac:spMk id="19" creationId="{092C184A-B74E-C40E-6E41-71CBF16684EC}"/>
          </ac:spMkLst>
        </pc:spChg>
        <pc:spChg chg="add mod ord">
          <ac:chgData name="Trauer" userId="aa8b9dc3-a64d-4cc6-bd4f-f46eb5f096c9" providerId="ADAL" clId="{5B76CEF1-A6E3-49E3-8F70-F81E9495ECB4}" dt="2023-08-14T17:30:10.355" v="6626" actId="34135"/>
          <ac:spMkLst>
            <pc:docMk/>
            <pc:sldMk cId="591085830" sldId="564"/>
            <ac:spMk id="20" creationId="{9297F153-6143-4B0B-2869-E15DF41C2684}"/>
          </ac:spMkLst>
        </pc:spChg>
        <pc:spChg chg="add mod ord">
          <ac:chgData name="Trauer" userId="aa8b9dc3-a64d-4cc6-bd4f-f46eb5f096c9" providerId="ADAL" clId="{5B76CEF1-A6E3-49E3-8F70-F81E9495ECB4}" dt="2023-08-14T17:30:10.355" v="6626" actId="34135"/>
          <ac:spMkLst>
            <pc:docMk/>
            <pc:sldMk cId="591085830" sldId="564"/>
            <ac:spMk id="21" creationId="{49909B0D-F5F8-A6A6-DA47-B8A5952AF2A9}"/>
          </ac:spMkLst>
        </pc:spChg>
      </pc:sldChg>
      <pc:sldChg chg="new del">
        <pc:chgData name="Trauer" userId="aa8b9dc3-a64d-4cc6-bd4f-f46eb5f096c9" providerId="ADAL" clId="{5B76CEF1-A6E3-49E3-8F70-F81E9495ECB4}" dt="2023-08-14T16:09:24.290" v="2766" actId="47"/>
        <pc:sldMkLst>
          <pc:docMk/>
          <pc:sldMk cId="1388637718" sldId="564"/>
        </pc:sldMkLst>
      </pc:sldChg>
      <pc:sldChg chg="new del">
        <pc:chgData name="Trauer" userId="aa8b9dc3-a64d-4cc6-bd4f-f46eb5f096c9" providerId="ADAL" clId="{5B76CEF1-A6E3-49E3-8F70-F81E9495ECB4}" dt="2023-08-14T15:14:20.206" v="2379" actId="47"/>
        <pc:sldMkLst>
          <pc:docMk/>
          <pc:sldMk cId="3386541653" sldId="565"/>
        </pc:sldMkLst>
      </pc:sldChg>
      <pc:sldChg chg="addSp delSp modSp new mod modTransition">
        <pc:chgData name="Trauer" userId="aa8b9dc3-a64d-4cc6-bd4f-f46eb5f096c9" providerId="ADAL" clId="{5B76CEF1-A6E3-49E3-8F70-F81E9495ECB4}" dt="2023-08-14T17:30:02.868" v="6625" actId="34135"/>
        <pc:sldMkLst>
          <pc:docMk/>
          <pc:sldMk cId="4181496625" sldId="565"/>
        </pc:sldMkLst>
        <pc:spChg chg="mod">
          <ac:chgData name="Trauer" userId="aa8b9dc3-a64d-4cc6-bd4f-f46eb5f096c9" providerId="ADAL" clId="{5B76CEF1-A6E3-49E3-8F70-F81E9495ECB4}" dt="2023-08-14T16:13:22.528" v="3052" actId="20577"/>
          <ac:spMkLst>
            <pc:docMk/>
            <pc:sldMk cId="4181496625" sldId="565"/>
            <ac:spMk id="2" creationId="{22E95BB1-2E30-BC78-2DE8-D2FA9D0B4F2E}"/>
          </ac:spMkLst>
        </pc:spChg>
        <pc:spChg chg="add del mod">
          <ac:chgData name="Trauer" userId="aa8b9dc3-a64d-4cc6-bd4f-f46eb5f096c9" providerId="ADAL" clId="{5B76CEF1-A6E3-49E3-8F70-F81E9495ECB4}" dt="2023-08-14T16:48:49.809" v="3290"/>
          <ac:spMkLst>
            <pc:docMk/>
            <pc:sldMk cId="4181496625" sldId="565"/>
            <ac:spMk id="3" creationId="{0B9839D2-4448-F944-E5ED-13F9EE18CD98}"/>
          </ac:spMkLst>
        </pc:spChg>
        <pc:spChg chg="add del mod">
          <ac:chgData name="Trauer" userId="aa8b9dc3-a64d-4cc6-bd4f-f46eb5f096c9" providerId="ADAL" clId="{5B76CEF1-A6E3-49E3-8F70-F81E9495ECB4}" dt="2023-08-14T16:48:49.809" v="3290"/>
          <ac:spMkLst>
            <pc:docMk/>
            <pc:sldMk cId="4181496625" sldId="565"/>
            <ac:spMk id="4" creationId="{10A8ADB8-CC5F-AE8F-EE2F-11C091654184}"/>
          </ac:spMkLst>
        </pc:spChg>
        <pc:spChg chg="add del mod">
          <ac:chgData name="Trauer" userId="aa8b9dc3-a64d-4cc6-bd4f-f46eb5f096c9" providerId="ADAL" clId="{5B76CEF1-A6E3-49E3-8F70-F81E9495ECB4}" dt="2023-08-14T16:48:49.809" v="3290"/>
          <ac:spMkLst>
            <pc:docMk/>
            <pc:sldMk cId="4181496625" sldId="565"/>
            <ac:spMk id="5" creationId="{93A7AF52-7D5A-4F69-84D2-960D3CB783DF}"/>
          </ac:spMkLst>
        </pc:spChg>
        <pc:spChg chg="add del mod">
          <ac:chgData name="Trauer" userId="aa8b9dc3-a64d-4cc6-bd4f-f46eb5f096c9" providerId="ADAL" clId="{5B76CEF1-A6E3-49E3-8F70-F81E9495ECB4}" dt="2023-08-14T16:48:49.809" v="3290"/>
          <ac:spMkLst>
            <pc:docMk/>
            <pc:sldMk cId="4181496625" sldId="565"/>
            <ac:spMk id="6" creationId="{FEB98693-845A-E361-EF85-A18429893D7F}"/>
          </ac:spMkLst>
        </pc:spChg>
        <pc:spChg chg="add del mod">
          <ac:chgData name="Trauer" userId="aa8b9dc3-a64d-4cc6-bd4f-f46eb5f096c9" providerId="ADAL" clId="{5B76CEF1-A6E3-49E3-8F70-F81E9495ECB4}" dt="2023-08-14T16:48:49.809" v="3290"/>
          <ac:spMkLst>
            <pc:docMk/>
            <pc:sldMk cId="4181496625" sldId="565"/>
            <ac:spMk id="7" creationId="{DA851DEB-5A25-B694-32F2-59D3CAFECE8C}"/>
          </ac:spMkLst>
        </pc:spChg>
        <pc:spChg chg="add del mod">
          <ac:chgData name="Trauer" userId="aa8b9dc3-a64d-4cc6-bd4f-f46eb5f096c9" providerId="ADAL" clId="{5B76CEF1-A6E3-49E3-8F70-F81E9495ECB4}" dt="2023-08-14T16:48:49.809" v="3290"/>
          <ac:spMkLst>
            <pc:docMk/>
            <pc:sldMk cId="4181496625" sldId="565"/>
            <ac:spMk id="8" creationId="{13A2C924-4ABE-F66F-D232-50E03CF12F43}"/>
          </ac:spMkLst>
        </pc:spChg>
        <pc:spChg chg="add del mod">
          <ac:chgData name="Trauer" userId="aa8b9dc3-a64d-4cc6-bd4f-f46eb5f096c9" providerId="ADAL" clId="{5B76CEF1-A6E3-49E3-8F70-F81E9495ECB4}" dt="2023-08-14T16:48:49.809" v="3290"/>
          <ac:spMkLst>
            <pc:docMk/>
            <pc:sldMk cId="4181496625" sldId="565"/>
            <ac:spMk id="9" creationId="{C939AF92-13CD-F31E-5973-EC1E9557199A}"/>
          </ac:spMkLst>
        </pc:spChg>
        <pc:spChg chg="add del mod">
          <ac:chgData name="Trauer" userId="aa8b9dc3-a64d-4cc6-bd4f-f46eb5f096c9" providerId="ADAL" clId="{5B76CEF1-A6E3-49E3-8F70-F81E9495ECB4}" dt="2023-08-14T16:48:49.809" v="3290"/>
          <ac:spMkLst>
            <pc:docMk/>
            <pc:sldMk cId="4181496625" sldId="565"/>
            <ac:spMk id="10" creationId="{CEB054C0-83CF-1404-31AF-7ED4D0618126}"/>
          </ac:spMkLst>
        </pc:spChg>
        <pc:spChg chg="add del mod">
          <ac:chgData name="Trauer" userId="aa8b9dc3-a64d-4cc6-bd4f-f46eb5f096c9" providerId="ADAL" clId="{5B76CEF1-A6E3-49E3-8F70-F81E9495ECB4}" dt="2023-08-14T16:48:49.809" v="3290"/>
          <ac:spMkLst>
            <pc:docMk/>
            <pc:sldMk cId="4181496625" sldId="565"/>
            <ac:spMk id="11" creationId="{D6434014-1B56-77C7-9C8E-641B54B95B95}"/>
          </ac:spMkLst>
        </pc:spChg>
        <pc:spChg chg="add mod ord">
          <ac:chgData name="Trauer" userId="aa8b9dc3-a64d-4cc6-bd4f-f46eb5f096c9" providerId="ADAL" clId="{5B76CEF1-A6E3-49E3-8F70-F81E9495ECB4}" dt="2023-08-14T16:53:14.060" v="3339" actId="13244"/>
          <ac:spMkLst>
            <pc:docMk/>
            <pc:sldMk cId="4181496625" sldId="565"/>
            <ac:spMk id="12" creationId="{84469A18-460C-EDC1-6503-8A9D238588C0}"/>
          </ac:spMkLst>
        </pc:spChg>
        <pc:spChg chg="add mod">
          <ac:chgData name="Trauer" userId="aa8b9dc3-a64d-4cc6-bd4f-f46eb5f096c9" providerId="ADAL" clId="{5B76CEF1-A6E3-49E3-8F70-F81E9495ECB4}" dt="2023-08-14T17:30:02.868" v="6625" actId="34135"/>
          <ac:spMkLst>
            <pc:docMk/>
            <pc:sldMk cId="4181496625" sldId="565"/>
            <ac:spMk id="13" creationId="{182A55B8-7127-F48E-7440-08901130E07C}"/>
          </ac:spMkLst>
        </pc:spChg>
        <pc:spChg chg="add mod">
          <ac:chgData name="Trauer" userId="aa8b9dc3-a64d-4cc6-bd4f-f46eb5f096c9" providerId="ADAL" clId="{5B76CEF1-A6E3-49E3-8F70-F81E9495ECB4}" dt="2023-08-14T17:30:02.868" v="6625" actId="34135"/>
          <ac:spMkLst>
            <pc:docMk/>
            <pc:sldMk cId="4181496625" sldId="565"/>
            <ac:spMk id="14" creationId="{75B61021-E6C4-7C4A-35FB-FFD0DBC16F0B}"/>
          </ac:spMkLst>
        </pc:spChg>
        <pc:spChg chg="add mod">
          <ac:chgData name="Trauer" userId="aa8b9dc3-a64d-4cc6-bd4f-f46eb5f096c9" providerId="ADAL" clId="{5B76CEF1-A6E3-49E3-8F70-F81E9495ECB4}" dt="2023-08-14T17:30:02.868" v="6625" actId="34135"/>
          <ac:spMkLst>
            <pc:docMk/>
            <pc:sldMk cId="4181496625" sldId="565"/>
            <ac:spMk id="15" creationId="{15F05C81-CA5F-A2C9-21FB-ED12DB75B529}"/>
          </ac:spMkLst>
        </pc:spChg>
        <pc:spChg chg="add mod">
          <ac:chgData name="Trauer" userId="aa8b9dc3-a64d-4cc6-bd4f-f46eb5f096c9" providerId="ADAL" clId="{5B76CEF1-A6E3-49E3-8F70-F81E9495ECB4}" dt="2023-08-14T17:30:02.868" v="6625" actId="34135"/>
          <ac:spMkLst>
            <pc:docMk/>
            <pc:sldMk cId="4181496625" sldId="565"/>
            <ac:spMk id="16" creationId="{8AB6CA0E-6A26-AE30-03F0-BCC743B8DC9E}"/>
          </ac:spMkLst>
        </pc:spChg>
        <pc:spChg chg="add mod">
          <ac:chgData name="Trauer" userId="aa8b9dc3-a64d-4cc6-bd4f-f46eb5f096c9" providerId="ADAL" clId="{5B76CEF1-A6E3-49E3-8F70-F81E9495ECB4}" dt="2023-08-14T17:30:02.868" v="6625" actId="34135"/>
          <ac:spMkLst>
            <pc:docMk/>
            <pc:sldMk cId="4181496625" sldId="565"/>
            <ac:spMk id="17" creationId="{185879B8-F8C0-1F00-6903-12D72EDBBB16}"/>
          </ac:spMkLst>
        </pc:spChg>
        <pc:spChg chg="add mod ord">
          <ac:chgData name="Trauer" userId="aa8b9dc3-a64d-4cc6-bd4f-f46eb5f096c9" providerId="ADAL" clId="{5B76CEF1-A6E3-49E3-8F70-F81E9495ECB4}" dt="2023-08-14T17:30:02.868" v="6625" actId="34135"/>
          <ac:spMkLst>
            <pc:docMk/>
            <pc:sldMk cId="4181496625" sldId="565"/>
            <ac:spMk id="18" creationId="{1778CBFF-3136-5492-6739-6CDF765EDA3E}"/>
          </ac:spMkLst>
        </pc:spChg>
        <pc:spChg chg="add mod ord">
          <ac:chgData name="Trauer" userId="aa8b9dc3-a64d-4cc6-bd4f-f46eb5f096c9" providerId="ADAL" clId="{5B76CEF1-A6E3-49E3-8F70-F81E9495ECB4}" dt="2023-08-14T17:30:02.868" v="6625" actId="34135"/>
          <ac:spMkLst>
            <pc:docMk/>
            <pc:sldMk cId="4181496625" sldId="565"/>
            <ac:spMk id="19" creationId="{6D592A27-2580-ED27-D35C-8B012D0C72E1}"/>
          </ac:spMkLst>
        </pc:spChg>
        <pc:spChg chg="add mod">
          <ac:chgData name="Trauer" userId="aa8b9dc3-a64d-4cc6-bd4f-f46eb5f096c9" providerId="ADAL" clId="{5B76CEF1-A6E3-49E3-8F70-F81E9495ECB4}" dt="2023-08-14T17:30:02.868" v="6625" actId="34135"/>
          <ac:spMkLst>
            <pc:docMk/>
            <pc:sldMk cId="4181496625" sldId="565"/>
            <ac:spMk id="20" creationId="{717B481C-830E-A3AB-FAF5-46BD56DF4364}"/>
          </ac:spMkLst>
        </pc:spChg>
      </pc:sldChg>
      <pc:sldChg chg="new del">
        <pc:chgData name="Trauer" userId="aa8b9dc3-a64d-4cc6-bd4f-f46eb5f096c9" providerId="ADAL" clId="{5B76CEF1-A6E3-49E3-8F70-F81E9495ECB4}" dt="2023-08-14T16:09:24.290" v="2766" actId="47"/>
        <pc:sldMkLst>
          <pc:docMk/>
          <pc:sldMk cId="3064172080" sldId="566"/>
        </pc:sldMkLst>
      </pc:sldChg>
      <pc:sldChg chg="addSp delSp modSp new mod modTransition">
        <pc:chgData name="Trauer" userId="aa8b9dc3-a64d-4cc6-bd4f-f46eb5f096c9" providerId="ADAL" clId="{5B76CEF1-A6E3-49E3-8F70-F81E9495ECB4}" dt="2023-08-14T17:29:57.449" v="6624" actId="34135"/>
        <pc:sldMkLst>
          <pc:docMk/>
          <pc:sldMk cId="3542633627" sldId="566"/>
        </pc:sldMkLst>
        <pc:spChg chg="mod">
          <ac:chgData name="Trauer" userId="aa8b9dc3-a64d-4cc6-bd4f-f46eb5f096c9" providerId="ADAL" clId="{5B76CEF1-A6E3-49E3-8F70-F81E9495ECB4}" dt="2023-08-14T16:13:35.965" v="3073" actId="20577"/>
          <ac:spMkLst>
            <pc:docMk/>
            <pc:sldMk cId="3542633627" sldId="566"/>
            <ac:spMk id="2" creationId="{1635A426-D21A-2FFC-D097-DDA5869C4B76}"/>
          </ac:spMkLst>
        </pc:spChg>
        <pc:spChg chg="add del mod">
          <ac:chgData name="Trauer" userId="aa8b9dc3-a64d-4cc6-bd4f-f46eb5f096c9" providerId="ADAL" clId="{5B76CEF1-A6E3-49E3-8F70-F81E9495ECB4}" dt="2023-08-14T16:48:49.334" v="3289"/>
          <ac:spMkLst>
            <pc:docMk/>
            <pc:sldMk cId="3542633627" sldId="566"/>
            <ac:spMk id="3" creationId="{30BF4B86-96E0-FA86-8608-DB566B5C51D6}"/>
          </ac:spMkLst>
        </pc:spChg>
        <pc:spChg chg="add del mod">
          <ac:chgData name="Trauer" userId="aa8b9dc3-a64d-4cc6-bd4f-f46eb5f096c9" providerId="ADAL" clId="{5B76CEF1-A6E3-49E3-8F70-F81E9495ECB4}" dt="2023-08-14T16:48:49.334" v="3289"/>
          <ac:spMkLst>
            <pc:docMk/>
            <pc:sldMk cId="3542633627" sldId="566"/>
            <ac:spMk id="4" creationId="{30FD75A4-869C-0812-0471-0F3E7AED92BB}"/>
          </ac:spMkLst>
        </pc:spChg>
        <pc:spChg chg="add del mod">
          <ac:chgData name="Trauer" userId="aa8b9dc3-a64d-4cc6-bd4f-f46eb5f096c9" providerId="ADAL" clId="{5B76CEF1-A6E3-49E3-8F70-F81E9495ECB4}" dt="2023-08-14T16:48:49.334" v="3289"/>
          <ac:spMkLst>
            <pc:docMk/>
            <pc:sldMk cId="3542633627" sldId="566"/>
            <ac:spMk id="5" creationId="{965F74B0-E2BE-BADE-4783-5D770971A66A}"/>
          </ac:spMkLst>
        </pc:spChg>
        <pc:spChg chg="add del mod">
          <ac:chgData name="Trauer" userId="aa8b9dc3-a64d-4cc6-bd4f-f46eb5f096c9" providerId="ADAL" clId="{5B76CEF1-A6E3-49E3-8F70-F81E9495ECB4}" dt="2023-08-14T16:48:49.334" v="3289"/>
          <ac:spMkLst>
            <pc:docMk/>
            <pc:sldMk cId="3542633627" sldId="566"/>
            <ac:spMk id="6" creationId="{B26908C7-B3A4-E2D6-6122-7BAC01429111}"/>
          </ac:spMkLst>
        </pc:spChg>
        <pc:spChg chg="add del mod">
          <ac:chgData name="Trauer" userId="aa8b9dc3-a64d-4cc6-bd4f-f46eb5f096c9" providerId="ADAL" clId="{5B76CEF1-A6E3-49E3-8F70-F81E9495ECB4}" dt="2023-08-14T16:48:49.334" v="3289"/>
          <ac:spMkLst>
            <pc:docMk/>
            <pc:sldMk cId="3542633627" sldId="566"/>
            <ac:spMk id="7" creationId="{07D5F93B-515F-8938-358B-BEB40D40498C}"/>
          </ac:spMkLst>
        </pc:spChg>
        <pc:spChg chg="add del mod">
          <ac:chgData name="Trauer" userId="aa8b9dc3-a64d-4cc6-bd4f-f46eb5f096c9" providerId="ADAL" clId="{5B76CEF1-A6E3-49E3-8F70-F81E9495ECB4}" dt="2023-08-14T16:48:49.334" v="3289"/>
          <ac:spMkLst>
            <pc:docMk/>
            <pc:sldMk cId="3542633627" sldId="566"/>
            <ac:spMk id="8" creationId="{F9338A2C-38F9-8C98-5B2A-1DCBC88D61D3}"/>
          </ac:spMkLst>
        </pc:spChg>
        <pc:spChg chg="add del mod">
          <ac:chgData name="Trauer" userId="aa8b9dc3-a64d-4cc6-bd4f-f46eb5f096c9" providerId="ADAL" clId="{5B76CEF1-A6E3-49E3-8F70-F81E9495ECB4}" dt="2023-08-14T16:48:49.334" v="3289"/>
          <ac:spMkLst>
            <pc:docMk/>
            <pc:sldMk cId="3542633627" sldId="566"/>
            <ac:spMk id="9" creationId="{8ED12F47-3853-9B47-7CAC-21F2E81CCA38}"/>
          </ac:spMkLst>
        </pc:spChg>
        <pc:spChg chg="add del mod">
          <ac:chgData name="Trauer" userId="aa8b9dc3-a64d-4cc6-bd4f-f46eb5f096c9" providerId="ADAL" clId="{5B76CEF1-A6E3-49E3-8F70-F81E9495ECB4}" dt="2023-08-14T16:48:49.334" v="3289"/>
          <ac:spMkLst>
            <pc:docMk/>
            <pc:sldMk cId="3542633627" sldId="566"/>
            <ac:spMk id="10" creationId="{463DDF39-599C-7FD7-A455-B6CB898A76AB}"/>
          </ac:spMkLst>
        </pc:spChg>
        <pc:spChg chg="add del mod">
          <ac:chgData name="Trauer" userId="aa8b9dc3-a64d-4cc6-bd4f-f46eb5f096c9" providerId="ADAL" clId="{5B76CEF1-A6E3-49E3-8F70-F81E9495ECB4}" dt="2023-08-14T16:48:49.334" v="3289"/>
          <ac:spMkLst>
            <pc:docMk/>
            <pc:sldMk cId="3542633627" sldId="566"/>
            <ac:spMk id="11" creationId="{75B48AAE-C889-2B62-CF65-053C4A2DA6F2}"/>
          </ac:spMkLst>
        </pc:spChg>
        <pc:spChg chg="add mod ord">
          <ac:chgData name="Trauer" userId="aa8b9dc3-a64d-4cc6-bd4f-f46eb5f096c9" providerId="ADAL" clId="{5B76CEF1-A6E3-49E3-8F70-F81E9495ECB4}" dt="2023-08-14T16:53:25.214" v="3342" actId="13244"/>
          <ac:spMkLst>
            <pc:docMk/>
            <pc:sldMk cId="3542633627" sldId="566"/>
            <ac:spMk id="12" creationId="{E0A416DC-1486-C24C-B23D-784D06C96861}"/>
          </ac:spMkLst>
        </pc:spChg>
        <pc:spChg chg="add mod">
          <ac:chgData name="Trauer" userId="aa8b9dc3-a64d-4cc6-bd4f-f46eb5f096c9" providerId="ADAL" clId="{5B76CEF1-A6E3-49E3-8F70-F81E9495ECB4}" dt="2023-08-14T17:29:57.449" v="6624" actId="34135"/>
          <ac:spMkLst>
            <pc:docMk/>
            <pc:sldMk cId="3542633627" sldId="566"/>
            <ac:spMk id="13" creationId="{E716F55E-D718-7552-2F78-B32FDBE17F55}"/>
          </ac:spMkLst>
        </pc:spChg>
        <pc:spChg chg="add mod">
          <ac:chgData name="Trauer" userId="aa8b9dc3-a64d-4cc6-bd4f-f46eb5f096c9" providerId="ADAL" clId="{5B76CEF1-A6E3-49E3-8F70-F81E9495ECB4}" dt="2023-08-14T17:29:57.449" v="6624" actId="34135"/>
          <ac:spMkLst>
            <pc:docMk/>
            <pc:sldMk cId="3542633627" sldId="566"/>
            <ac:spMk id="14" creationId="{97DE619E-61CF-FDB1-EEDD-0BA2E7089402}"/>
          </ac:spMkLst>
        </pc:spChg>
        <pc:spChg chg="add mod">
          <ac:chgData name="Trauer" userId="aa8b9dc3-a64d-4cc6-bd4f-f46eb5f096c9" providerId="ADAL" clId="{5B76CEF1-A6E3-49E3-8F70-F81E9495ECB4}" dt="2023-08-14T17:29:57.449" v="6624" actId="34135"/>
          <ac:spMkLst>
            <pc:docMk/>
            <pc:sldMk cId="3542633627" sldId="566"/>
            <ac:spMk id="15" creationId="{77F4056E-9DE4-8976-2A7A-AC9DFF35EAD2}"/>
          </ac:spMkLst>
        </pc:spChg>
        <pc:spChg chg="add mod">
          <ac:chgData name="Trauer" userId="aa8b9dc3-a64d-4cc6-bd4f-f46eb5f096c9" providerId="ADAL" clId="{5B76CEF1-A6E3-49E3-8F70-F81E9495ECB4}" dt="2023-08-14T17:29:57.449" v="6624" actId="34135"/>
          <ac:spMkLst>
            <pc:docMk/>
            <pc:sldMk cId="3542633627" sldId="566"/>
            <ac:spMk id="16" creationId="{D2670DEC-1BE5-1138-D73D-7BBCCCD93712}"/>
          </ac:spMkLst>
        </pc:spChg>
        <pc:spChg chg="add mod ord">
          <ac:chgData name="Trauer" userId="aa8b9dc3-a64d-4cc6-bd4f-f46eb5f096c9" providerId="ADAL" clId="{5B76CEF1-A6E3-49E3-8F70-F81E9495ECB4}" dt="2023-08-14T17:29:57.449" v="6624" actId="34135"/>
          <ac:spMkLst>
            <pc:docMk/>
            <pc:sldMk cId="3542633627" sldId="566"/>
            <ac:spMk id="17" creationId="{0641CB65-2C37-7645-24E8-D2D4A6BE394D}"/>
          </ac:spMkLst>
        </pc:spChg>
        <pc:spChg chg="add mod ord">
          <ac:chgData name="Trauer" userId="aa8b9dc3-a64d-4cc6-bd4f-f46eb5f096c9" providerId="ADAL" clId="{5B76CEF1-A6E3-49E3-8F70-F81E9495ECB4}" dt="2023-08-14T17:29:57.449" v="6624" actId="34135"/>
          <ac:spMkLst>
            <pc:docMk/>
            <pc:sldMk cId="3542633627" sldId="566"/>
            <ac:spMk id="18" creationId="{79D1186B-BDA6-DB26-6A29-C788835F3506}"/>
          </ac:spMkLst>
        </pc:spChg>
        <pc:spChg chg="add mod ord">
          <ac:chgData name="Trauer" userId="aa8b9dc3-a64d-4cc6-bd4f-f46eb5f096c9" providerId="ADAL" clId="{5B76CEF1-A6E3-49E3-8F70-F81E9495ECB4}" dt="2023-08-14T17:29:57.449" v="6624" actId="34135"/>
          <ac:spMkLst>
            <pc:docMk/>
            <pc:sldMk cId="3542633627" sldId="566"/>
            <ac:spMk id="19" creationId="{1E635511-8D79-BF01-9EC4-86E907323530}"/>
          </ac:spMkLst>
        </pc:spChg>
        <pc:spChg chg="add mod">
          <ac:chgData name="Trauer" userId="aa8b9dc3-a64d-4cc6-bd4f-f46eb5f096c9" providerId="ADAL" clId="{5B76CEF1-A6E3-49E3-8F70-F81E9495ECB4}" dt="2023-08-14T17:29:57.449" v="6624" actId="34135"/>
          <ac:spMkLst>
            <pc:docMk/>
            <pc:sldMk cId="3542633627" sldId="566"/>
            <ac:spMk id="20" creationId="{BF2C07A7-F7A2-B897-8D72-331B658D2BB1}"/>
          </ac:spMkLst>
        </pc:spChg>
      </pc:sldChg>
      <pc:sldChg chg="new del">
        <pc:chgData name="Trauer" userId="aa8b9dc3-a64d-4cc6-bd4f-f46eb5f096c9" providerId="ADAL" clId="{5B76CEF1-A6E3-49E3-8F70-F81E9495ECB4}" dt="2023-08-14T16:09:24.290" v="2766" actId="47"/>
        <pc:sldMkLst>
          <pc:docMk/>
          <pc:sldMk cId="2317878456" sldId="567"/>
        </pc:sldMkLst>
      </pc:sldChg>
      <pc:sldChg chg="addSp delSp modSp new mod modTransition">
        <pc:chgData name="Trauer" userId="aa8b9dc3-a64d-4cc6-bd4f-f46eb5f096c9" providerId="ADAL" clId="{5B76CEF1-A6E3-49E3-8F70-F81E9495ECB4}" dt="2023-08-14T17:29:52.105" v="6623" actId="34135"/>
        <pc:sldMkLst>
          <pc:docMk/>
          <pc:sldMk cId="3402141813" sldId="567"/>
        </pc:sldMkLst>
        <pc:spChg chg="mod">
          <ac:chgData name="Trauer" userId="aa8b9dc3-a64d-4cc6-bd4f-f46eb5f096c9" providerId="ADAL" clId="{5B76CEF1-A6E3-49E3-8F70-F81E9495ECB4}" dt="2023-08-14T16:13:41.979" v="3088" actId="20577"/>
          <ac:spMkLst>
            <pc:docMk/>
            <pc:sldMk cId="3402141813" sldId="567"/>
            <ac:spMk id="2" creationId="{82D47ECF-56E0-BB3E-81CF-CC911E8FB51B}"/>
          </ac:spMkLst>
        </pc:spChg>
        <pc:spChg chg="add del mod">
          <ac:chgData name="Trauer" userId="aa8b9dc3-a64d-4cc6-bd4f-f46eb5f096c9" providerId="ADAL" clId="{5B76CEF1-A6E3-49E3-8F70-F81E9495ECB4}" dt="2023-08-14T16:48:48.920" v="3288"/>
          <ac:spMkLst>
            <pc:docMk/>
            <pc:sldMk cId="3402141813" sldId="567"/>
            <ac:spMk id="3" creationId="{FF645ADF-CFFE-42AE-0670-D354B792183E}"/>
          </ac:spMkLst>
        </pc:spChg>
        <pc:spChg chg="add del mod">
          <ac:chgData name="Trauer" userId="aa8b9dc3-a64d-4cc6-bd4f-f46eb5f096c9" providerId="ADAL" clId="{5B76CEF1-A6E3-49E3-8F70-F81E9495ECB4}" dt="2023-08-14T16:48:48.920" v="3288"/>
          <ac:spMkLst>
            <pc:docMk/>
            <pc:sldMk cId="3402141813" sldId="567"/>
            <ac:spMk id="4" creationId="{ED039B0F-305C-CC6F-1716-D6597DA8CFB7}"/>
          </ac:spMkLst>
        </pc:spChg>
        <pc:spChg chg="add del mod">
          <ac:chgData name="Trauer" userId="aa8b9dc3-a64d-4cc6-bd4f-f46eb5f096c9" providerId="ADAL" clId="{5B76CEF1-A6E3-49E3-8F70-F81E9495ECB4}" dt="2023-08-14T16:48:48.920" v="3288"/>
          <ac:spMkLst>
            <pc:docMk/>
            <pc:sldMk cId="3402141813" sldId="567"/>
            <ac:spMk id="5" creationId="{CEBAF4F0-C67F-71F0-893A-2E0DD9F7CB3C}"/>
          </ac:spMkLst>
        </pc:spChg>
        <pc:spChg chg="add del mod">
          <ac:chgData name="Trauer" userId="aa8b9dc3-a64d-4cc6-bd4f-f46eb5f096c9" providerId="ADAL" clId="{5B76CEF1-A6E3-49E3-8F70-F81E9495ECB4}" dt="2023-08-14T16:48:48.920" v="3288"/>
          <ac:spMkLst>
            <pc:docMk/>
            <pc:sldMk cId="3402141813" sldId="567"/>
            <ac:spMk id="6" creationId="{681BE01E-186D-0F1D-8455-87447E9E3FEF}"/>
          </ac:spMkLst>
        </pc:spChg>
        <pc:spChg chg="add del mod">
          <ac:chgData name="Trauer" userId="aa8b9dc3-a64d-4cc6-bd4f-f46eb5f096c9" providerId="ADAL" clId="{5B76CEF1-A6E3-49E3-8F70-F81E9495ECB4}" dt="2023-08-14T16:48:48.920" v="3288"/>
          <ac:spMkLst>
            <pc:docMk/>
            <pc:sldMk cId="3402141813" sldId="567"/>
            <ac:spMk id="7" creationId="{1C5AF14E-A8DF-E530-F0BE-65C1941848C3}"/>
          </ac:spMkLst>
        </pc:spChg>
        <pc:spChg chg="add del mod">
          <ac:chgData name="Trauer" userId="aa8b9dc3-a64d-4cc6-bd4f-f46eb5f096c9" providerId="ADAL" clId="{5B76CEF1-A6E3-49E3-8F70-F81E9495ECB4}" dt="2023-08-14T16:48:48.920" v="3288"/>
          <ac:spMkLst>
            <pc:docMk/>
            <pc:sldMk cId="3402141813" sldId="567"/>
            <ac:spMk id="8" creationId="{3D0935C6-4A5F-2AA4-20E9-A603AD9D8C1A}"/>
          </ac:spMkLst>
        </pc:spChg>
        <pc:spChg chg="add del mod">
          <ac:chgData name="Trauer" userId="aa8b9dc3-a64d-4cc6-bd4f-f46eb5f096c9" providerId="ADAL" clId="{5B76CEF1-A6E3-49E3-8F70-F81E9495ECB4}" dt="2023-08-14T16:48:48.920" v="3288"/>
          <ac:spMkLst>
            <pc:docMk/>
            <pc:sldMk cId="3402141813" sldId="567"/>
            <ac:spMk id="9" creationId="{22F91344-A2E0-97AD-DA56-03EA17F12C28}"/>
          </ac:spMkLst>
        </pc:spChg>
        <pc:spChg chg="add del mod">
          <ac:chgData name="Trauer" userId="aa8b9dc3-a64d-4cc6-bd4f-f46eb5f096c9" providerId="ADAL" clId="{5B76CEF1-A6E3-49E3-8F70-F81E9495ECB4}" dt="2023-08-14T16:48:48.920" v="3288"/>
          <ac:spMkLst>
            <pc:docMk/>
            <pc:sldMk cId="3402141813" sldId="567"/>
            <ac:spMk id="10" creationId="{252991CA-0368-5F20-D89D-D269F21C300A}"/>
          </ac:spMkLst>
        </pc:spChg>
        <pc:spChg chg="add del mod">
          <ac:chgData name="Trauer" userId="aa8b9dc3-a64d-4cc6-bd4f-f46eb5f096c9" providerId="ADAL" clId="{5B76CEF1-A6E3-49E3-8F70-F81E9495ECB4}" dt="2023-08-14T16:48:48.920" v="3288"/>
          <ac:spMkLst>
            <pc:docMk/>
            <pc:sldMk cId="3402141813" sldId="567"/>
            <ac:spMk id="11" creationId="{BA6C9A05-9F43-46DF-74B4-DD8BD1A53B95}"/>
          </ac:spMkLst>
        </pc:spChg>
        <pc:spChg chg="add mod ord">
          <ac:chgData name="Trauer" userId="aa8b9dc3-a64d-4cc6-bd4f-f46eb5f096c9" providerId="ADAL" clId="{5B76CEF1-A6E3-49E3-8F70-F81E9495ECB4}" dt="2023-08-14T16:53:36.725" v="3346" actId="13244"/>
          <ac:spMkLst>
            <pc:docMk/>
            <pc:sldMk cId="3402141813" sldId="567"/>
            <ac:spMk id="12" creationId="{5C262A83-5767-53AE-9312-CADFFE80FBC6}"/>
          </ac:spMkLst>
        </pc:spChg>
        <pc:spChg chg="add mod">
          <ac:chgData name="Trauer" userId="aa8b9dc3-a64d-4cc6-bd4f-f46eb5f096c9" providerId="ADAL" clId="{5B76CEF1-A6E3-49E3-8F70-F81E9495ECB4}" dt="2023-08-14T17:29:52.105" v="6623" actId="34135"/>
          <ac:spMkLst>
            <pc:docMk/>
            <pc:sldMk cId="3402141813" sldId="567"/>
            <ac:spMk id="13" creationId="{88F9441C-9044-99ED-826C-6D8BFD0FF264}"/>
          </ac:spMkLst>
        </pc:spChg>
        <pc:spChg chg="add mod">
          <ac:chgData name="Trauer" userId="aa8b9dc3-a64d-4cc6-bd4f-f46eb5f096c9" providerId="ADAL" clId="{5B76CEF1-A6E3-49E3-8F70-F81E9495ECB4}" dt="2023-08-14T17:29:52.105" v="6623" actId="34135"/>
          <ac:spMkLst>
            <pc:docMk/>
            <pc:sldMk cId="3402141813" sldId="567"/>
            <ac:spMk id="14" creationId="{04C78549-90DD-C922-316B-2A97EFA86284}"/>
          </ac:spMkLst>
        </pc:spChg>
        <pc:spChg chg="add mod">
          <ac:chgData name="Trauer" userId="aa8b9dc3-a64d-4cc6-bd4f-f46eb5f096c9" providerId="ADAL" clId="{5B76CEF1-A6E3-49E3-8F70-F81E9495ECB4}" dt="2023-08-14T17:29:52.105" v="6623" actId="34135"/>
          <ac:spMkLst>
            <pc:docMk/>
            <pc:sldMk cId="3402141813" sldId="567"/>
            <ac:spMk id="15" creationId="{F0D68507-1900-22F8-F616-3ECF612D33D8}"/>
          </ac:spMkLst>
        </pc:spChg>
        <pc:spChg chg="add mod ord">
          <ac:chgData name="Trauer" userId="aa8b9dc3-a64d-4cc6-bd4f-f46eb5f096c9" providerId="ADAL" clId="{5B76CEF1-A6E3-49E3-8F70-F81E9495ECB4}" dt="2023-08-14T17:29:52.105" v="6623" actId="34135"/>
          <ac:spMkLst>
            <pc:docMk/>
            <pc:sldMk cId="3402141813" sldId="567"/>
            <ac:spMk id="16" creationId="{48106A1B-6A3D-40A0-86E4-04CE3A3AB660}"/>
          </ac:spMkLst>
        </pc:spChg>
        <pc:spChg chg="add mod ord">
          <ac:chgData name="Trauer" userId="aa8b9dc3-a64d-4cc6-bd4f-f46eb5f096c9" providerId="ADAL" clId="{5B76CEF1-A6E3-49E3-8F70-F81E9495ECB4}" dt="2023-08-14T17:29:52.105" v="6623" actId="34135"/>
          <ac:spMkLst>
            <pc:docMk/>
            <pc:sldMk cId="3402141813" sldId="567"/>
            <ac:spMk id="17" creationId="{C5D70583-FA61-4DBE-A0F0-8FA2D48D0FF2}"/>
          </ac:spMkLst>
        </pc:spChg>
        <pc:spChg chg="add mod ord">
          <ac:chgData name="Trauer" userId="aa8b9dc3-a64d-4cc6-bd4f-f46eb5f096c9" providerId="ADAL" clId="{5B76CEF1-A6E3-49E3-8F70-F81E9495ECB4}" dt="2023-08-14T17:29:52.105" v="6623" actId="34135"/>
          <ac:spMkLst>
            <pc:docMk/>
            <pc:sldMk cId="3402141813" sldId="567"/>
            <ac:spMk id="18" creationId="{CBF5A335-24FD-B707-8F5C-C38C050BFCB2}"/>
          </ac:spMkLst>
        </pc:spChg>
        <pc:spChg chg="add mod ord">
          <ac:chgData name="Trauer" userId="aa8b9dc3-a64d-4cc6-bd4f-f46eb5f096c9" providerId="ADAL" clId="{5B76CEF1-A6E3-49E3-8F70-F81E9495ECB4}" dt="2023-08-14T17:29:52.105" v="6623" actId="34135"/>
          <ac:spMkLst>
            <pc:docMk/>
            <pc:sldMk cId="3402141813" sldId="567"/>
            <ac:spMk id="19" creationId="{F1FDD400-05E8-1CC5-59EE-87D5FF8E5517}"/>
          </ac:spMkLst>
        </pc:spChg>
        <pc:spChg chg="add mod">
          <ac:chgData name="Trauer" userId="aa8b9dc3-a64d-4cc6-bd4f-f46eb5f096c9" providerId="ADAL" clId="{5B76CEF1-A6E3-49E3-8F70-F81E9495ECB4}" dt="2023-08-14T17:29:52.105" v="6623" actId="34135"/>
          <ac:spMkLst>
            <pc:docMk/>
            <pc:sldMk cId="3402141813" sldId="567"/>
            <ac:spMk id="20" creationId="{86AD62C1-D575-BE61-6B47-CA6F50C831A7}"/>
          </ac:spMkLst>
        </pc:spChg>
      </pc:sldChg>
      <pc:sldChg chg="new del">
        <pc:chgData name="Trauer" userId="aa8b9dc3-a64d-4cc6-bd4f-f46eb5f096c9" providerId="ADAL" clId="{5B76CEF1-A6E3-49E3-8F70-F81E9495ECB4}" dt="2023-08-14T16:09:24.290" v="2766" actId="47"/>
        <pc:sldMkLst>
          <pc:docMk/>
          <pc:sldMk cId="3085858191" sldId="568"/>
        </pc:sldMkLst>
      </pc:sldChg>
      <pc:sldChg chg="addSp modSp new mod modTransition">
        <pc:chgData name="Trauer" userId="aa8b9dc3-a64d-4cc6-bd4f-f46eb5f096c9" providerId="ADAL" clId="{5B76CEF1-A6E3-49E3-8F70-F81E9495ECB4}" dt="2023-08-14T17:29:46.560" v="6622" actId="34135"/>
        <pc:sldMkLst>
          <pc:docMk/>
          <pc:sldMk cId="3205003528" sldId="568"/>
        </pc:sldMkLst>
        <pc:spChg chg="mod">
          <ac:chgData name="Trauer" userId="aa8b9dc3-a64d-4cc6-bd4f-f46eb5f096c9" providerId="ADAL" clId="{5B76CEF1-A6E3-49E3-8F70-F81E9495ECB4}" dt="2023-08-14T17:29:41.082" v="6621" actId="1076"/>
          <ac:spMkLst>
            <pc:docMk/>
            <pc:sldMk cId="3205003528" sldId="568"/>
            <ac:spMk id="2" creationId="{298413E9-4EB1-6BA8-5409-C1C8501E7CBB}"/>
          </ac:spMkLst>
        </pc:spChg>
        <pc:spChg chg="add mod ord">
          <ac:chgData name="Trauer" userId="aa8b9dc3-a64d-4cc6-bd4f-f46eb5f096c9" providerId="ADAL" clId="{5B76CEF1-A6E3-49E3-8F70-F81E9495ECB4}" dt="2023-08-14T16:53:46.767" v="3351" actId="13244"/>
          <ac:spMkLst>
            <pc:docMk/>
            <pc:sldMk cId="3205003528" sldId="568"/>
            <ac:spMk id="3" creationId="{F8CC3AB6-635B-7422-DD05-3EF544C7F258}"/>
          </ac:spMkLst>
        </pc:spChg>
        <pc:spChg chg="add mod">
          <ac:chgData name="Trauer" userId="aa8b9dc3-a64d-4cc6-bd4f-f46eb5f096c9" providerId="ADAL" clId="{5B76CEF1-A6E3-49E3-8F70-F81E9495ECB4}" dt="2023-08-14T17:29:46.560" v="6622" actId="34135"/>
          <ac:spMkLst>
            <pc:docMk/>
            <pc:sldMk cId="3205003528" sldId="568"/>
            <ac:spMk id="4" creationId="{78C43758-A636-F4CF-6A30-58BAC3E18A5B}"/>
          </ac:spMkLst>
        </pc:spChg>
        <pc:spChg chg="add mod">
          <ac:chgData name="Trauer" userId="aa8b9dc3-a64d-4cc6-bd4f-f46eb5f096c9" providerId="ADAL" clId="{5B76CEF1-A6E3-49E3-8F70-F81E9495ECB4}" dt="2023-08-14T17:29:46.560" v="6622" actId="34135"/>
          <ac:spMkLst>
            <pc:docMk/>
            <pc:sldMk cId="3205003528" sldId="568"/>
            <ac:spMk id="5" creationId="{22458B9C-1D53-CF4E-BBF2-ACF9C2634798}"/>
          </ac:spMkLst>
        </pc:spChg>
        <pc:spChg chg="add mod ord">
          <ac:chgData name="Trauer" userId="aa8b9dc3-a64d-4cc6-bd4f-f46eb5f096c9" providerId="ADAL" clId="{5B76CEF1-A6E3-49E3-8F70-F81E9495ECB4}" dt="2023-08-14T17:29:46.560" v="6622" actId="34135"/>
          <ac:spMkLst>
            <pc:docMk/>
            <pc:sldMk cId="3205003528" sldId="568"/>
            <ac:spMk id="6" creationId="{695090A4-A9BD-CB9E-8B7C-BC49814D7E92}"/>
          </ac:spMkLst>
        </pc:spChg>
        <pc:spChg chg="add mod ord">
          <ac:chgData name="Trauer" userId="aa8b9dc3-a64d-4cc6-bd4f-f46eb5f096c9" providerId="ADAL" clId="{5B76CEF1-A6E3-49E3-8F70-F81E9495ECB4}" dt="2023-08-14T17:29:46.560" v="6622" actId="34135"/>
          <ac:spMkLst>
            <pc:docMk/>
            <pc:sldMk cId="3205003528" sldId="568"/>
            <ac:spMk id="7" creationId="{6FF93D0D-0ECE-A4E0-4B45-811AA4B5D0B8}"/>
          </ac:spMkLst>
        </pc:spChg>
        <pc:spChg chg="add mod ord">
          <ac:chgData name="Trauer" userId="aa8b9dc3-a64d-4cc6-bd4f-f46eb5f096c9" providerId="ADAL" clId="{5B76CEF1-A6E3-49E3-8F70-F81E9495ECB4}" dt="2023-08-14T17:29:46.560" v="6622" actId="34135"/>
          <ac:spMkLst>
            <pc:docMk/>
            <pc:sldMk cId="3205003528" sldId="568"/>
            <ac:spMk id="8" creationId="{23FBDBBD-01B0-B82F-A824-8555A4F9D0F8}"/>
          </ac:spMkLst>
        </pc:spChg>
        <pc:spChg chg="add mod ord">
          <ac:chgData name="Trauer" userId="aa8b9dc3-a64d-4cc6-bd4f-f46eb5f096c9" providerId="ADAL" clId="{5B76CEF1-A6E3-49E3-8F70-F81E9495ECB4}" dt="2023-08-14T17:29:46.560" v="6622" actId="34135"/>
          <ac:spMkLst>
            <pc:docMk/>
            <pc:sldMk cId="3205003528" sldId="568"/>
            <ac:spMk id="9" creationId="{1C396ABB-CD47-7275-E7EF-4CE8A44ADDCB}"/>
          </ac:spMkLst>
        </pc:spChg>
        <pc:spChg chg="add mod ord">
          <ac:chgData name="Trauer" userId="aa8b9dc3-a64d-4cc6-bd4f-f46eb5f096c9" providerId="ADAL" clId="{5B76CEF1-A6E3-49E3-8F70-F81E9495ECB4}" dt="2023-08-14T17:29:46.560" v="6622" actId="34135"/>
          <ac:spMkLst>
            <pc:docMk/>
            <pc:sldMk cId="3205003528" sldId="568"/>
            <ac:spMk id="10" creationId="{AF1B1219-59D5-F16A-9F19-A8D72C3F7634}"/>
          </ac:spMkLst>
        </pc:spChg>
        <pc:spChg chg="add mod">
          <ac:chgData name="Trauer" userId="aa8b9dc3-a64d-4cc6-bd4f-f46eb5f096c9" providerId="ADAL" clId="{5B76CEF1-A6E3-49E3-8F70-F81E9495ECB4}" dt="2023-08-14T17:29:46.560" v="6622" actId="34135"/>
          <ac:spMkLst>
            <pc:docMk/>
            <pc:sldMk cId="3205003528" sldId="568"/>
            <ac:spMk id="11" creationId="{8B803623-C514-0443-7404-9EF8B4B53A91}"/>
          </ac:spMkLst>
        </pc:spChg>
      </pc:sldChg>
      <pc:sldChg chg="new del">
        <pc:chgData name="Trauer" userId="aa8b9dc3-a64d-4cc6-bd4f-f46eb5f096c9" providerId="ADAL" clId="{5B76CEF1-A6E3-49E3-8F70-F81E9495ECB4}" dt="2023-08-14T16:09:24.290" v="2766" actId="47"/>
        <pc:sldMkLst>
          <pc:docMk/>
          <pc:sldMk cId="1029311500" sldId="569"/>
        </pc:sldMkLst>
      </pc:sldChg>
      <pc:sldChg chg="addSp modSp new mod modTransition">
        <pc:chgData name="Trauer" userId="aa8b9dc3-a64d-4cc6-bd4f-f46eb5f096c9" providerId="ADAL" clId="{5B76CEF1-A6E3-49E3-8F70-F81E9495ECB4}" dt="2023-08-14T17:29:36.780" v="6619" actId="34135"/>
        <pc:sldMkLst>
          <pc:docMk/>
          <pc:sldMk cId="1153123132" sldId="569"/>
        </pc:sldMkLst>
        <pc:spChg chg="mod">
          <ac:chgData name="Trauer" userId="aa8b9dc3-a64d-4cc6-bd4f-f46eb5f096c9" providerId="ADAL" clId="{5B76CEF1-A6E3-49E3-8F70-F81E9495ECB4}" dt="2023-08-14T16:14:02.963" v="3134" actId="20577"/>
          <ac:spMkLst>
            <pc:docMk/>
            <pc:sldMk cId="1153123132" sldId="569"/>
            <ac:spMk id="2" creationId="{E819CABE-4DF9-0E08-D799-10232FB5C149}"/>
          </ac:spMkLst>
        </pc:spChg>
        <pc:spChg chg="add mod ord">
          <ac:chgData name="Trauer" userId="aa8b9dc3-a64d-4cc6-bd4f-f46eb5f096c9" providerId="ADAL" clId="{5B76CEF1-A6E3-49E3-8F70-F81E9495ECB4}" dt="2023-08-14T16:54:06.670" v="3358" actId="13244"/>
          <ac:spMkLst>
            <pc:docMk/>
            <pc:sldMk cId="1153123132" sldId="569"/>
            <ac:spMk id="3" creationId="{F022FF21-95CF-28EF-9103-5B507A97A093}"/>
          </ac:spMkLst>
        </pc:spChg>
        <pc:spChg chg="add mod">
          <ac:chgData name="Trauer" userId="aa8b9dc3-a64d-4cc6-bd4f-f46eb5f096c9" providerId="ADAL" clId="{5B76CEF1-A6E3-49E3-8F70-F81E9495ECB4}" dt="2023-08-14T17:29:36.780" v="6619" actId="34135"/>
          <ac:spMkLst>
            <pc:docMk/>
            <pc:sldMk cId="1153123132" sldId="569"/>
            <ac:spMk id="4" creationId="{A99BFC76-4A9D-C5B3-A13D-B9C1A8E0ECCC}"/>
          </ac:spMkLst>
        </pc:spChg>
        <pc:spChg chg="add mod ord">
          <ac:chgData name="Trauer" userId="aa8b9dc3-a64d-4cc6-bd4f-f46eb5f096c9" providerId="ADAL" clId="{5B76CEF1-A6E3-49E3-8F70-F81E9495ECB4}" dt="2023-08-14T17:29:36.780" v="6619" actId="34135"/>
          <ac:spMkLst>
            <pc:docMk/>
            <pc:sldMk cId="1153123132" sldId="569"/>
            <ac:spMk id="5" creationId="{C2496E33-4BC5-085D-E483-92F7FF2B7ADB}"/>
          </ac:spMkLst>
        </pc:spChg>
        <pc:spChg chg="add mod ord">
          <ac:chgData name="Trauer" userId="aa8b9dc3-a64d-4cc6-bd4f-f46eb5f096c9" providerId="ADAL" clId="{5B76CEF1-A6E3-49E3-8F70-F81E9495ECB4}" dt="2023-08-14T17:29:36.780" v="6619" actId="34135"/>
          <ac:spMkLst>
            <pc:docMk/>
            <pc:sldMk cId="1153123132" sldId="569"/>
            <ac:spMk id="6" creationId="{C44F5196-05BC-90EF-BFB9-8F60474F53CB}"/>
          </ac:spMkLst>
        </pc:spChg>
        <pc:spChg chg="add mod ord">
          <ac:chgData name="Trauer" userId="aa8b9dc3-a64d-4cc6-bd4f-f46eb5f096c9" providerId="ADAL" clId="{5B76CEF1-A6E3-49E3-8F70-F81E9495ECB4}" dt="2023-08-14T17:29:36.780" v="6619" actId="34135"/>
          <ac:spMkLst>
            <pc:docMk/>
            <pc:sldMk cId="1153123132" sldId="569"/>
            <ac:spMk id="7" creationId="{3384B180-D024-12D7-F7D5-B0B6AF3E9D98}"/>
          </ac:spMkLst>
        </pc:spChg>
        <pc:spChg chg="add mod ord">
          <ac:chgData name="Trauer" userId="aa8b9dc3-a64d-4cc6-bd4f-f46eb5f096c9" providerId="ADAL" clId="{5B76CEF1-A6E3-49E3-8F70-F81E9495ECB4}" dt="2023-08-14T17:29:36.780" v="6619" actId="34135"/>
          <ac:spMkLst>
            <pc:docMk/>
            <pc:sldMk cId="1153123132" sldId="569"/>
            <ac:spMk id="8" creationId="{B250AAA4-5237-60A5-BB39-E697EB722C71}"/>
          </ac:spMkLst>
        </pc:spChg>
        <pc:spChg chg="add mod ord">
          <ac:chgData name="Trauer" userId="aa8b9dc3-a64d-4cc6-bd4f-f46eb5f096c9" providerId="ADAL" clId="{5B76CEF1-A6E3-49E3-8F70-F81E9495ECB4}" dt="2023-08-14T17:29:36.780" v="6619" actId="34135"/>
          <ac:spMkLst>
            <pc:docMk/>
            <pc:sldMk cId="1153123132" sldId="569"/>
            <ac:spMk id="9" creationId="{3A1ACB4B-6C65-D129-5E06-EF938E37D500}"/>
          </ac:spMkLst>
        </pc:spChg>
        <pc:spChg chg="add mod ord">
          <ac:chgData name="Trauer" userId="aa8b9dc3-a64d-4cc6-bd4f-f46eb5f096c9" providerId="ADAL" clId="{5B76CEF1-A6E3-49E3-8F70-F81E9495ECB4}" dt="2023-08-14T17:29:36.780" v="6619" actId="34135"/>
          <ac:spMkLst>
            <pc:docMk/>
            <pc:sldMk cId="1153123132" sldId="569"/>
            <ac:spMk id="10" creationId="{B8D392C9-6A55-E7F6-2420-B64DEB1417AA}"/>
          </ac:spMkLst>
        </pc:spChg>
        <pc:spChg chg="add mod">
          <ac:chgData name="Trauer" userId="aa8b9dc3-a64d-4cc6-bd4f-f46eb5f096c9" providerId="ADAL" clId="{5B76CEF1-A6E3-49E3-8F70-F81E9495ECB4}" dt="2023-08-14T17:29:36.780" v="6619" actId="34135"/>
          <ac:spMkLst>
            <pc:docMk/>
            <pc:sldMk cId="1153123132" sldId="569"/>
            <ac:spMk id="11" creationId="{9DE2151E-D97F-E0FC-3F7C-38519C0C09D7}"/>
          </ac:spMkLst>
        </pc:spChg>
        <pc:graphicFrameChg chg="add mod">
          <ac:chgData name="Trauer" userId="aa8b9dc3-a64d-4cc6-bd4f-f46eb5f096c9" providerId="ADAL" clId="{5B76CEF1-A6E3-49E3-8F70-F81E9495ECB4}" dt="2023-08-14T17:11:39.540" v="6396"/>
          <ac:graphicFrameMkLst>
            <pc:docMk/>
            <pc:sldMk cId="1153123132" sldId="569"/>
            <ac:graphicFrameMk id="12" creationId="{87EB2C68-141F-CD17-3C66-605B7665E7DD}"/>
          </ac:graphicFrameMkLst>
        </pc:graphicFrameChg>
      </pc:sldChg>
      <pc:sldChg chg="new del">
        <pc:chgData name="Trauer" userId="aa8b9dc3-a64d-4cc6-bd4f-f46eb5f096c9" providerId="ADAL" clId="{5B76CEF1-A6E3-49E3-8F70-F81E9495ECB4}" dt="2023-08-14T16:09:24.290" v="2766" actId="47"/>
        <pc:sldMkLst>
          <pc:docMk/>
          <pc:sldMk cId="715018930" sldId="570"/>
        </pc:sldMkLst>
      </pc:sldChg>
      <pc:sldChg chg="addSp delSp modSp new mod modTransition">
        <pc:chgData name="Trauer" userId="aa8b9dc3-a64d-4cc6-bd4f-f46eb5f096c9" providerId="ADAL" clId="{5B76CEF1-A6E3-49E3-8F70-F81E9495ECB4}" dt="2023-08-14T17:29:28.110" v="6618" actId="34135"/>
        <pc:sldMkLst>
          <pc:docMk/>
          <pc:sldMk cId="1151920042" sldId="570"/>
        </pc:sldMkLst>
        <pc:spChg chg="mod">
          <ac:chgData name="Trauer" userId="aa8b9dc3-a64d-4cc6-bd4f-f46eb5f096c9" providerId="ADAL" clId="{5B76CEF1-A6E3-49E3-8F70-F81E9495ECB4}" dt="2023-08-14T16:14:11.180" v="3157" actId="20577"/>
          <ac:spMkLst>
            <pc:docMk/>
            <pc:sldMk cId="1151920042" sldId="570"/>
            <ac:spMk id="2" creationId="{2E28A833-1534-50F7-5AD1-A2935EEE7B3F}"/>
          </ac:spMkLst>
        </pc:spChg>
        <pc:spChg chg="add mod ord">
          <ac:chgData name="Trauer" userId="aa8b9dc3-a64d-4cc6-bd4f-f46eb5f096c9" providerId="ADAL" clId="{5B76CEF1-A6E3-49E3-8F70-F81E9495ECB4}" dt="2023-08-14T16:54:25.544" v="3365" actId="13244"/>
          <ac:spMkLst>
            <pc:docMk/>
            <pc:sldMk cId="1151920042" sldId="570"/>
            <ac:spMk id="3" creationId="{72392388-636D-A7A1-B280-F10D4E1DE5E2}"/>
          </ac:spMkLst>
        </pc:spChg>
        <pc:spChg chg="add mod ord">
          <ac:chgData name="Trauer" userId="aa8b9dc3-a64d-4cc6-bd4f-f46eb5f096c9" providerId="ADAL" clId="{5B76CEF1-A6E3-49E3-8F70-F81E9495ECB4}" dt="2023-08-14T17:29:28.110" v="6618" actId="34135"/>
          <ac:spMkLst>
            <pc:docMk/>
            <pc:sldMk cId="1151920042" sldId="570"/>
            <ac:spMk id="4" creationId="{B590EA00-4C27-CF64-7292-EF4C6A66893D}"/>
          </ac:spMkLst>
        </pc:spChg>
        <pc:spChg chg="add mod ord">
          <ac:chgData name="Trauer" userId="aa8b9dc3-a64d-4cc6-bd4f-f46eb5f096c9" providerId="ADAL" clId="{5B76CEF1-A6E3-49E3-8F70-F81E9495ECB4}" dt="2023-08-14T17:29:28.110" v="6618" actId="34135"/>
          <ac:spMkLst>
            <pc:docMk/>
            <pc:sldMk cId="1151920042" sldId="570"/>
            <ac:spMk id="5" creationId="{0F7B06B1-E95F-FA09-2824-FC76C476D156}"/>
          </ac:spMkLst>
        </pc:spChg>
        <pc:spChg chg="add mod ord">
          <ac:chgData name="Trauer" userId="aa8b9dc3-a64d-4cc6-bd4f-f46eb5f096c9" providerId="ADAL" clId="{5B76CEF1-A6E3-49E3-8F70-F81E9495ECB4}" dt="2023-08-14T17:29:28.110" v="6618" actId="34135"/>
          <ac:spMkLst>
            <pc:docMk/>
            <pc:sldMk cId="1151920042" sldId="570"/>
            <ac:spMk id="6" creationId="{4E050B73-7D12-92E9-1A08-41D505BE4CE0}"/>
          </ac:spMkLst>
        </pc:spChg>
        <pc:spChg chg="add mod ord">
          <ac:chgData name="Trauer" userId="aa8b9dc3-a64d-4cc6-bd4f-f46eb5f096c9" providerId="ADAL" clId="{5B76CEF1-A6E3-49E3-8F70-F81E9495ECB4}" dt="2023-08-14T17:29:28.110" v="6618" actId="34135"/>
          <ac:spMkLst>
            <pc:docMk/>
            <pc:sldMk cId="1151920042" sldId="570"/>
            <ac:spMk id="7" creationId="{9AC45D13-0459-E0C4-5BAB-B400F5D7A09D}"/>
          </ac:spMkLst>
        </pc:spChg>
        <pc:spChg chg="add mod ord">
          <ac:chgData name="Trauer" userId="aa8b9dc3-a64d-4cc6-bd4f-f46eb5f096c9" providerId="ADAL" clId="{5B76CEF1-A6E3-49E3-8F70-F81E9495ECB4}" dt="2023-08-14T17:29:28.110" v="6618" actId="34135"/>
          <ac:spMkLst>
            <pc:docMk/>
            <pc:sldMk cId="1151920042" sldId="570"/>
            <ac:spMk id="8" creationId="{3B716816-6E7D-95A7-0C35-0E75749CE3D3}"/>
          </ac:spMkLst>
        </pc:spChg>
        <pc:spChg chg="add mod ord">
          <ac:chgData name="Trauer" userId="aa8b9dc3-a64d-4cc6-bd4f-f46eb5f096c9" providerId="ADAL" clId="{5B76CEF1-A6E3-49E3-8F70-F81E9495ECB4}" dt="2023-08-14T17:29:28.110" v="6618" actId="34135"/>
          <ac:spMkLst>
            <pc:docMk/>
            <pc:sldMk cId="1151920042" sldId="570"/>
            <ac:spMk id="9" creationId="{328247E3-0755-0D74-EA25-E3D04F240D3C}"/>
          </ac:spMkLst>
        </pc:spChg>
        <pc:spChg chg="add mod ord">
          <ac:chgData name="Trauer" userId="aa8b9dc3-a64d-4cc6-bd4f-f46eb5f096c9" providerId="ADAL" clId="{5B76CEF1-A6E3-49E3-8F70-F81E9495ECB4}" dt="2023-08-14T17:29:28.110" v="6618" actId="34135"/>
          <ac:spMkLst>
            <pc:docMk/>
            <pc:sldMk cId="1151920042" sldId="570"/>
            <ac:spMk id="10" creationId="{4132B82B-93A2-2905-4BF7-E29F36E7E9AA}"/>
          </ac:spMkLst>
        </pc:spChg>
        <pc:spChg chg="add mod">
          <ac:chgData name="Trauer" userId="aa8b9dc3-a64d-4cc6-bd4f-f46eb5f096c9" providerId="ADAL" clId="{5B76CEF1-A6E3-49E3-8F70-F81E9495ECB4}" dt="2023-08-14T17:29:28.110" v="6618" actId="34135"/>
          <ac:spMkLst>
            <pc:docMk/>
            <pc:sldMk cId="1151920042" sldId="570"/>
            <ac:spMk id="11" creationId="{166E4A7B-BCB4-1483-4895-3DAE0FBA7C22}"/>
          </ac:spMkLst>
        </pc:spChg>
        <pc:spChg chg="add del mod">
          <ac:chgData name="Trauer" userId="aa8b9dc3-a64d-4cc6-bd4f-f46eb5f096c9" providerId="ADAL" clId="{5B76CEF1-A6E3-49E3-8F70-F81E9495ECB4}" dt="2023-08-14T17:29:17.666" v="6616" actId="478"/>
          <ac:spMkLst>
            <pc:docMk/>
            <pc:sldMk cId="1151920042" sldId="570"/>
            <ac:spMk id="12" creationId="{D1910A1D-001E-A671-3B27-6ACA1314B019}"/>
          </ac:spMkLst>
        </pc:spChg>
        <pc:spChg chg="add del mod">
          <ac:chgData name="Trauer" userId="aa8b9dc3-a64d-4cc6-bd4f-f46eb5f096c9" providerId="ADAL" clId="{5B76CEF1-A6E3-49E3-8F70-F81E9495ECB4}" dt="2023-08-14T17:29:17.666" v="6616" actId="478"/>
          <ac:spMkLst>
            <pc:docMk/>
            <pc:sldMk cId="1151920042" sldId="570"/>
            <ac:spMk id="13" creationId="{06ACEDD8-EADD-E052-FE72-85B89824E83E}"/>
          </ac:spMkLst>
        </pc:spChg>
        <pc:spChg chg="add del mod">
          <ac:chgData name="Trauer" userId="aa8b9dc3-a64d-4cc6-bd4f-f46eb5f096c9" providerId="ADAL" clId="{5B76CEF1-A6E3-49E3-8F70-F81E9495ECB4}" dt="2023-08-14T17:29:17.666" v="6616" actId="478"/>
          <ac:spMkLst>
            <pc:docMk/>
            <pc:sldMk cId="1151920042" sldId="570"/>
            <ac:spMk id="15" creationId="{471A09EC-3D9C-C039-212C-9E228D201409}"/>
          </ac:spMkLst>
        </pc:spChg>
        <pc:spChg chg="add del mod">
          <ac:chgData name="Trauer" userId="aa8b9dc3-a64d-4cc6-bd4f-f46eb5f096c9" providerId="ADAL" clId="{5B76CEF1-A6E3-49E3-8F70-F81E9495ECB4}" dt="2023-08-14T17:29:17.666" v="6616" actId="478"/>
          <ac:spMkLst>
            <pc:docMk/>
            <pc:sldMk cId="1151920042" sldId="570"/>
            <ac:spMk id="16" creationId="{A89EC5B4-090D-DE79-08B5-49452BF81E6D}"/>
          </ac:spMkLst>
        </pc:spChg>
        <pc:spChg chg="add del mod">
          <ac:chgData name="Trauer" userId="aa8b9dc3-a64d-4cc6-bd4f-f46eb5f096c9" providerId="ADAL" clId="{5B76CEF1-A6E3-49E3-8F70-F81E9495ECB4}" dt="2023-08-14T17:29:17.666" v="6616" actId="478"/>
          <ac:spMkLst>
            <pc:docMk/>
            <pc:sldMk cId="1151920042" sldId="570"/>
            <ac:spMk id="17" creationId="{D60A5DEE-A91F-1699-C36D-92FA8DB2277F}"/>
          </ac:spMkLst>
        </pc:spChg>
        <pc:spChg chg="add del mod">
          <ac:chgData name="Trauer" userId="aa8b9dc3-a64d-4cc6-bd4f-f46eb5f096c9" providerId="ADAL" clId="{5B76CEF1-A6E3-49E3-8F70-F81E9495ECB4}" dt="2023-08-14T17:29:17.666" v="6616" actId="478"/>
          <ac:spMkLst>
            <pc:docMk/>
            <pc:sldMk cId="1151920042" sldId="570"/>
            <ac:spMk id="20" creationId="{29219FF9-7A5E-D598-2534-B331CED11A05}"/>
          </ac:spMkLst>
        </pc:spChg>
        <pc:spChg chg="add del mod">
          <ac:chgData name="Trauer" userId="aa8b9dc3-a64d-4cc6-bd4f-f46eb5f096c9" providerId="ADAL" clId="{5B76CEF1-A6E3-49E3-8F70-F81E9495ECB4}" dt="2023-08-14T17:02:59.017" v="3419" actId="478"/>
          <ac:spMkLst>
            <pc:docMk/>
            <pc:sldMk cId="1151920042" sldId="570"/>
            <ac:spMk id="21" creationId="{5CE3BECF-B8C3-AE4F-BB0E-B31A8A429FFF}"/>
          </ac:spMkLst>
        </pc:spChg>
        <pc:spChg chg="add del mod">
          <ac:chgData name="Trauer" userId="aa8b9dc3-a64d-4cc6-bd4f-f46eb5f096c9" providerId="ADAL" clId="{5B76CEF1-A6E3-49E3-8F70-F81E9495ECB4}" dt="2023-08-14T17:29:17.666" v="6616" actId="478"/>
          <ac:spMkLst>
            <pc:docMk/>
            <pc:sldMk cId="1151920042" sldId="570"/>
            <ac:spMk id="22" creationId="{3F81FEC1-6D1F-9DFE-CBBA-DA491BDF5DF9}"/>
          </ac:spMkLst>
        </pc:spChg>
        <pc:spChg chg="mod">
          <ac:chgData name="Trauer" userId="aa8b9dc3-a64d-4cc6-bd4f-f46eb5f096c9" providerId="ADAL" clId="{5B76CEF1-A6E3-49E3-8F70-F81E9495ECB4}" dt="2023-08-14T17:02:33.457" v="3409"/>
          <ac:spMkLst>
            <pc:docMk/>
            <pc:sldMk cId="1151920042" sldId="570"/>
            <ac:spMk id="24" creationId="{23CD2092-2166-1E14-5E32-156A3B561749}"/>
          </ac:spMkLst>
        </pc:spChg>
        <pc:spChg chg="mod">
          <ac:chgData name="Trauer" userId="aa8b9dc3-a64d-4cc6-bd4f-f46eb5f096c9" providerId="ADAL" clId="{5B76CEF1-A6E3-49E3-8F70-F81E9495ECB4}" dt="2023-08-14T17:02:33.457" v="3409"/>
          <ac:spMkLst>
            <pc:docMk/>
            <pc:sldMk cId="1151920042" sldId="570"/>
            <ac:spMk id="25" creationId="{51965BAD-AE43-A0A9-02AC-4F9D0154C9A6}"/>
          </ac:spMkLst>
        </pc:spChg>
        <pc:spChg chg="mod">
          <ac:chgData name="Trauer" userId="aa8b9dc3-a64d-4cc6-bd4f-f46eb5f096c9" providerId="ADAL" clId="{5B76CEF1-A6E3-49E3-8F70-F81E9495ECB4}" dt="2023-08-14T17:02:33.457" v="3409"/>
          <ac:spMkLst>
            <pc:docMk/>
            <pc:sldMk cId="1151920042" sldId="570"/>
            <ac:spMk id="26" creationId="{E6343303-E3CF-7EB0-BF71-EEA8332AAF81}"/>
          </ac:spMkLst>
        </pc:spChg>
        <pc:spChg chg="mod">
          <ac:chgData name="Trauer" userId="aa8b9dc3-a64d-4cc6-bd4f-f46eb5f096c9" providerId="ADAL" clId="{5B76CEF1-A6E3-49E3-8F70-F81E9495ECB4}" dt="2023-08-14T17:02:33.457" v="3409"/>
          <ac:spMkLst>
            <pc:docMk/>
            <pc:sldMk cId="1151920042" sldId="570"/>
            <ac:spMk id="27" creationId="{ECB87BA2-B2D4-0D8C-8DA8-64D917C50CD7}"/>
          </ac:spMkLst>
        </pc:spChg>
        <pc:spChg chg="mod">
          <ac:chgData name="Trauer" userId="aa8b9dc3-a64d-4cc6-bd4f-f46eb5f096c9" providerId="ADAL" clId="{5B76CEF1-A6E3-49E3-8F70-F81E9495ECB4}" dt="2023-08-14T17:02:33.457" v="3409"/>
          <ac:spMkLst>
            <pc:docMk/>
            <pc:sldMk cId="1151920042" sldId="570"/>
            <ac:spMk id="28" creationId="{7319D271-F931-EF02-A02A-2317BD1FD233}"/>
          </ac:spMkLst>
        </pc:spChg>
        <pc:spChg chg="add del mod">
          <ac:chgData name="Trauer" userId="aa8b9dc3-a64d-4cc6-bd4f-f46eb5f096c9" providerId="ADAL" clId="{5B76CEF1-A6E3-49E3-8F70-F81E9495ECB4}" dt="2023-08-14T17:29:17.666" v="6616" actId="478"/>
          <ac:spMkLst>
            <pc:docMk/>
            <pc:sldMk cId="1151920042" sldId="570"/>
            <ac:spMk id="29" creationId="{78863AD9-3587-1884-291D-A0B54BFDF5C0}"/>
          </ac:spMkLst>
        </pc:spChg>
        <pc:spChg chg="add del mod">
          <ac:chgData name="Trauer" userId="aa8b9dc3-a64d-4cc6-bd4f-f46eb5f096c9" providerId="ADAL" clId="{5B76CEF1-A6E3-49E3-8F70-F81E9495ECB4}" dt="2023-08-14T17:29:17.666" v="6616" actId="478"/>
          <ac:spMkLst>
            <pc:docMk/>
            <pc:sldMk cId="1151920042" sldId="570"/>
            <ac:spMk id="30" creationId="{0DF51016-98EE-E03D-E721-6113E3D5A025}"/>
          </ac:spMkLst>
        </pc:spChg>
        <pc:spChg chg="add del mod">
          <ac:chgData name="Trauer" userId="aa8b9dc3-a64d-4cc6-bd4f-f46eb5f096c9" providerId="ADAL" clId="{5B76CEF1-A6E3-49E3-8F70-F81E9495ECB4}" dt="2023-08-14T17:29:17.666" v="6616" actId="478"/>
          <ac:spMkLst>
            <pc:docMk/>
            <pc:sldMk cId="1151920042" sldId="570"/>
            <ac:spMk id="31" creationId="{60F8ADAF-3305-F964-F012-B0A59BBAD9F7}"/>
          </ac:spMkLst>
        </pc:spChg>
        <pc:spChg chg="add mod">
          <ac:chgData name="Trauer" userId="aa8b9dc3-a64d-4cc6-bd4f-f46eb5f096c9" providerId="ADAL" clId="{5B76CEF1-A6E3-49E3-8F70-F81E9495ECB4}" dt="2023-08-14T17:29:17.902" v="6617"/>
          <ac:spMkLst>
            <pc:docMk/>
            <pc:sldMk cId="1151920042" sldId="570"/>
            <ac:spMk id="32" creationId="{E26C0579-3C2A-B98A-602C-FCEEBE575A57}"/>
          </ac:spMkLst>
        </pc:spChg>
        <pc:spChg chg="add mod">
          <ac:chgData name="Trauer" userId="aa8b9dc3-a64d-4cc6-bd4f-f46eb5f096c9" providerId="ADAL" clId="{5B76CEF1-A6E3-49E3-8F70-F81E9495ECB4}" dt="2023-08-14T17:29:17.902" v="6617"/>
          <ac:spMkLst>
            <pc:docMk/>
            <pc:sldMk cId="1151920042" sldId="570"/>
            <ac:spMk id="33" creationId="{1546F14B-13D2-49F7-3656-472BBB197EBD}"/>
          </ac:spMkLst>
        </pc:spChg>
        <pc:spChg chg="add mod">
          <ac:chgData name="Trauer" userId="aa8b9dc3-a64d-4cc6-bd4f-f46eb5f096c9" providerId="ADAL" clId="{5B76CEF1-A6E3-49E3-8F70-F81E9495ECB4}" dt="2023-08-14T17:29:17.902" v="6617"/>
          <ac:spMkLst>
            <pc:docMk/>
            <pc:sldMk cId="1151920042" sldId="570"/>
            <ac:spMk id="35" creationId="{8C9E1859-4BD8-D44E-C913-826EF8563F55}"/>
          </ac:spMkLst>
        </pc:spChg>
        <pc:spChg chg="add mod">
          <ac:chgData name="Trauer" userId="aa8b9dc3-a64d-4cc6-bd4f-f46eb5f096c9" providerId="ADAL" clId="{5B76CEF1-A6E3-49E3-8F70-F81E9495ECB4}" dt="2023-08-14T17:29:17.902" v="6617"/>
          <ac:spMkLst>
            <pc:docMk/>
            <pc:sldMk cId="1151920042" sldId="570"/>
            <ac:spMk id="36" creationId="{7DE50B2F-AED8-C264-9825-3843250E3DA7}"/>
          </ac:spMkLst>
        </pc:spChg>
        <pc:spChg chg="add mod">
          <ac:chgData name="Trauer" userId="aa8b9dc3-a64d-4cc6-bd4f-f46eb5f096c9" providerId="ADAL" clId="{5B76CEF1-A6E3-49E3-8F70-F81E9495ECB4}" dt="2023-08-14T17:29:17.902" v="6617"/>
          <ac:spMkLst>
            <pc:docMk/>
            <pc:sldMk cId="1151920042" sldId="570"/>
            <ac:spMk id="37" creationId="{51C4D707-8356-1EA1-BBE6-E1A6D7AC00DD}"/>
          </ac:spMkLst>
        </pc:spChg>
        <pc:spChg chg="add mod">
          <ac:chgData name="Trauer" userId="aa8b9dc3-a64d-4cc6-bd4f-f46eb5f096c9" providerId="ADAL" clId="{5B76CEF1-A6E3-49E3-8F70-F81E9495ECB4}" dt="2023-08-14T17:29:17.902" v="6617"/>
          <ac:spMkLst>
            <pc:docMk/>
            <pc:sldMk cId="1151920042" sldId="570"/>
            <ac:spMk id="40" creationId="{0BDE0B05-D10E-1750-450B-320C625C736D}"/>
          </ac:spMkLst>
        </pc:spChg>
        <pc:spChg chg="add mod">
          <ac:chgData name="Trauer" userId="aa8b9dc3-a64d-4cc6-bd4f-f46eb5f096c9" providerId="ADAL" clId="{5B76CEF1-A6E3-49E3-8F70-F81E9495ECB4}" dt="2023-08-14T17:29:17.902" v="6617"/>
          <ac:spMkLst>
            <pc:docMk/>
            <pc:sldMk cId="1151920042" sldId="570"/>
            <ac:spMk id="41" creationId="{E0FE2B2A-FA17-4719-0D5B-A5F46C64FEB1}"/>
          </ac:spMkLst>
        </pc:spChg>
        <pc:spChg chg="mod">
          <ac:chgData name="Trauer" userId="aa8b9dc3-a64d-4cc6-bd4f-f46eb5f096c9" providerId="ADAL" clId="{5B76CEF1-A6E3-49E3-8F70-F81E9495ECB4}" dt="2023-08-14T17:29:17.902" v="6617"/>
          <ac:spMkLst>
            <pc:docMk/>
            <pc:sldMk cId="1151920042" sldId="570"/>
            <ac:spMk id="43" creationId="{4CC00D06-9B6D-A3E5-9129-095F64472A25}"/>
          </ac:spMkLst>
        </pc:spChg>
        <pc:spChg chg="mod">
          <ac:chgData name="Trauer" userId="aa8b9dc3-a64d-4cc6-bd4f-f46eb5f096c9" providerId="ADAL" clId="{5B76CEF1-A6E3-49E3-8F70-F81E9495ECB4}" dt="2023-08-14T17:29:17.902" v="6617"/>
          <ac:spMkLst>
            <pc:docMk/>
            <pc:sldMk cId="1151920042" sldId="570"/>
            <ac:spMk id="44" creationId="{458B8796-07FA-48EB-9AE1-70F9157493C5}"/>
          </ac:spMkLst>
        </pc:spChg>
        <pc:spChg chg="mod">
          <ac:chgData name="Trauer" userId="aa8b9dc3-a64d-4cc6-bd4f-f46eb5f096c9" providerId="ADAL" clId="{5B76CEF1-A6E3-49E3-8F70-F81E9495ECB4}" dt="2023-08-14T17:29:17.902" v="6617"/>
          <ac:spMkLst>
            <pc:docMk/>
            <pc:sldMk cId="1151920042" sldId="570"/>
            <ac:spMk id="45" creationId="{4C320837-9E4D-C23D-32E7-6B62DA2D074C}"/>
          </ac:spMkLst>
        </pc:spChg>
        <pc:spChg chg="mod">
          <ac:chgData name="Trauer" userId="aa8b9dc3-a64d-4cc6-bd4f-f46eb5f096c9" providerId="ADAL" clId="{5B76CEF1-A6E3-49E3-8F70-F81E9495ECB4}" dt="2023-08-14T17:29:17.902" v="6617"/>
          <ac:spMkLst>
            <pc:docMk/>
            <pc:sldMk cId="1151920042" sldId="570"/>
            <ac:spMk id="46" creationId="{D5AECAE5-B95B-2234-5DEC-C3D3F1FC4CCB}"/>
          </ac:spMkLst>
        </pc:spChg>
        <pc:spChg chg="mod">
          <ac:chgData name="Trauer" userId="aa8b9dc3-a64d-4cc6-bd4f-f46eb5f096c9" providerId="ADAL" clId="{5B76CEF1-A6E3-49E3-8F70-F81E9495ECB4}" dt="2023-08-14T17:29:17.902" v="6617"/>
          <ac:spMkLst>
            <pc:docMk/>
            <pc:sldMk cId="1151920042" sldId="570"/>
            <ac:spMk id="47" creationId="{00A9DC6E-98E3-1308-8EF1-AEA3CA97025B}"/>
          </ac:spMkLst>
        </pc:spChg>
        <pc:spChg chg="add mod">
          <ac:chgData name="Trauer" userId="aa8b9dc3-a64d-4cc6-bd4f-f46eb5f096c9" providerId="ADAL" clId="{5B76CEF1-A6E3-49E3-8F70-F81E9495ECB4}" dt="2023-08-14T17:29:17.902" v="6617"/>
          <ac:spMkLst>
            <pc:docMk/>
            <pc:sldMk cId="1151920042" sldId="570"/>
            <ac:spMk id="48" creationId="{51EDFDFB-E0F2-0D88-C918-851C5256DD4F}"/>
          </ac:spMkLst>
        </pc:spChg>
        <pc:spChg chg="add mod">
          <ac:chgData name="Trauer" userId="aa8b9dc3-a64d-4cc6-bd4f-f46eb5f096c9" providerId="ADAL" clId="{5B76CEF1-A6E3-49E3-8F70-F81E9495ECB4}" dt="2023-08-14T17:29:17.902" v="6617"/>
          <ac:spMkLst>
            <pc:docMk/>
            <pc:sldMk cId="1151920042" sldId="570"/>
            <ac:spMk id="49" creationId="{1871D2D1-5147-A251-6542-862388323E37}"/>
          </ac:spMkLst>
        </pc:spChg>
        <pc:spChg chg="add mod">
          <ac:chgData name="Trauer" userId="aa8b9dc3-a64d-4cc6-bd4f-f46eb5f096c9" providerId="ADAL" clId="{5B76CEF1-A6E3-49E3-8F70-F81E9495ECB4}" dt="2023-08-14T17:29:17.902" v="6617"/>
          <ac:spMkLst>
            <pc:docMk/>
            <pc:sldMk cId="1151920042" sldId="570"/>
            <ac:spMk id="50" creationId="{0DF7639C-B03F-63FD-7070-1E2A764AA4F2}"/>
          </ac:spMkLst>
        </pc:spChg>
        <pc:grpChg chg="add del mod">
          <ac:chgData name="Trauer" userId="aa8b9dc3-a64d-4cc6-bd4f-f46eb5f096c9" providerId="ADAL" clId="{5B76CEF1-A6E3-49E3-8F70-F81E9495ECB4}" dt="2023-08-14T17:29:17.666" v="6616" actId="478"/>
          <ac:grpSpMkLst>
            <pc:docMk/>
            <pc:sldMk cId="1151920042" sldId="570"/>
            <ac:grpSpMk id="23" creationId="{A0887F2D-3FE1-2489-0B4A-24793EF8A812}"/>
          </ac:grpSpMkLst>
        </pc:grpChg>
        <pc:grpChg chg="add mod">
          <ac:chgData name="Trauer" userId="aa8b9dc3-a64d-4cc6-bd4f-f46eb5f096c9" providerId="ADAL" clId="{5B76CEF1-A6E3-49E3-8F70-F81E9495ECB4}" dt="2023-08-14T17:29:17.902" v="6617"/>
          <ac:grpSpMkLst>
            <pc:docMk/>
            <pc:sldMk cId="1151920042" sldId="570"/>
            <ac:grpSpMk id="42" creationId="{D7C830DF-6676-8E48-5DFB-29BCDB55C6B3}"/>
          </ac:grpSpMkLst>
        </pc:grpChg>
        <pc:graphicFrameChg chg="add del mod">
          <ac:chgData name="Trauer" userId="aa8b9dc3-a64d-4cc6-bd4f-f46eb5f096c9" providerId="ADAL" clId="{5B76CEF1-A6E3-49E3-8F70-F81E9495ECB4}" dt="2023-08-14T17:29:17.666" v="6616" actId="478"/>
          <ac:graphicFrameMkLst>
            <pc:docMk/>
            <pc:sldMk cId="1151920042" sldId="570"/>
            <ac:graphicFrameMk id="14" creationId="{1288131C-5660-73B1-7D3A-9EE22D3DDE05}"/>
          </ac:graphicFrameMkLst>
        </pc:graphicFrameChg>
        <pc:graphicFrameChg chg="add del mod">
          <ac:chgData name="Trauer" userId="aa8b9dc3-a64d-4cc6-bd4f-f46eb5f096c9" providerId="ADAL" clId="{5B76CEF1-A6E3-49E3-8F70-F81E9495ECB4}" dt="2023-08-14T17:29:17.666" v="6616" actId="478"/>
          <ac:graphicFrameMkLst>
            <pc:docMk/>
            <pc:sldMk cId="1151920042" sldId="570"/>
            <ac:graphicFrameMk id="18" creationId="{C33F192E-E30E-7289-290F-8B535682CE93}"/>
          </ac:graphicFrameMkLst>
        </pc:graphicFrameChg>
        <pc:graphicFrameChg chg="add del mod">
          <ac:chgData name="Trauer" userId="aa8b9dc3-a64d-4cc6-bd4f-f46eb5f096c9" providerId="ADAL" clId="{5B76CEF1-A6E3-49E3-8F70-F81E9495ECB4}" dt="2023-08-14T17:29:17.666" v="6616" actId="478"/>
          <ac:graphicFrameMkLst>
            <pc:docMk/>
            <pc:sldMk cId="1151920042" sldId="570"/>
            <ac:graphicFrameMk id="19" creationId="{64F9ADE6-3369-8469-A228-332C4C2D3700}"/>
          </ac:graphicFrameMkLst>
        </pc:graphicFrameChg>
        <pc:graphicFrameChg chg="add mod">
          <ac:chgData name="Trauer" userId="aa8b9dc3-a64d-4cc6-bd4f-f46eb5f096c9" providerId="ADAL" clId="{5B76CEF1-A6E3-49E3-8F70-F81E9495ECB4}" dt="2023-08-14T17:29:17.902" v="6617"/>
          <ac:graphicFrameMkLst>
            <pc:docMk/>
            <pc:sldMk cId="1151920042" sldId="570"/>
            <ac:graphicFrameMk id="34" creationId="{1E25F807-11DD-8D69-734F-DFAD0F5FEBBA}"/>
          </ac:graphicFrameMkLst>
        </pc:graphicFrameChg>
        <pc:graphicFrameChg chg="add mod">
          <ac:chgData name="Trauer" userId="aa8b9dc3-a64d-4cc6-bd4f-f46eb5f096c9" providerId="ADAL" clId="{5B76CEF1-A6E3-49E3-8F70-F81E9495ECB4}" dt="2023-08-14T17:29:17.902" v="6617"/>
          <ac:graphicFrameMkLst>
            <pc:docMk/>
            <pc:sldMk cId="1151920042" sldId="570"/>
            <ac:graphicFrameMk id="38" creationId="{3AF9DBD2-7F16-5816-2201-2EEA97A84BBF}"/>
          </ac:graphicFrameMkLst>
        </pc:graphicFrameChg>
        <pc:graphicFrameChg chg="add mod">
          <ac:chgData name="Trauer" userId="aa8b9dc3-a64d-4cc6-bd4f-f46eb5f096c9" providerId="ADAL" clId="{5B76CEF1-A6E3-49E3-8F70-F81E9495ECB4}" dt="2023-08-14T17:29:17.902" v="6617"/>
          <ac:graphicFrameMkLst>
            <pc:docMk/>
            <pc:sldMk cId="1151920042" sldId="570"/>
            <ac:graphicFrameMk id="39" creationId="{D119C01E-EB69-EE6C-597E-C568F224A04C}"/>
          </ac:graphicFrameMkLst>
        </pc:graphicFrameChg>
      </pc:sldChg>
      <pc:sldChg chg="new del">
        <pc:chgData name="Trauer" userId="aa8b9dc3-a64d-4cc6-bd4f-f46eb5f096c9" providerId="ADAL" clId="{5B76CEF1-A6E3-49E3-8F70-F81E9495ECB4}" dt="2023-08-14T16:09:24.290" v="2766" actId="47"/>
        <pc:sldMkLst>
          <pc:docMk/>
          <pc:sldMk cId="1880757980" sldId="571"/>
        </pc:sldMkLst>
      </pc:sldChg>
      <pc:sldChg chg="delSp add del mod">
        <pc:chgData name="Trauer" userId="aa8b9dc3-a64d-4cc6-bd4f-f46eb5f096c9" providerId="ADAL" clId="{5B76CEF1-A6E3-49E3-8F70-F81E9495ECB4}" dt="2023-08-14T17:26:15.261" v="6601" actId="2696"/>
        <pc:sldMkLst>
          <pc:docMk/>
          <pc:sldMk cId="2738372783" sldId="571"/>
        </pc:sldMkLst>
        <pc:picChg chg="del">
          <ac:chgData name="Trauer" userId="aa8b9dc3-a64d-4cc6-bd4f-f46eb5f096c9" providerId="ADAL" clId="{5B76CEF1-A6E3-49E3-8F70-F81E9495ECB4}" dt="2023-08-14T17:16:20.808" v="6444" actId="478"/>
          <ac:picMkLst>
            <pc:docMk/>
            <pc:sldMk cId="2738372783" sldId="571"/>
            <ac:picMk id="11" creationId="{353D4C4F-A576-D748-0D18-6FFA7C89A045}"/>
          </ac:picMkLst>
        </pc:picChg>
      </pc:sldChg>
      <pc:sldChg chg="addSp modSp new mod">
        <pc:chgData name="Trauer" userId="aa8b9dc3-a64d-4cc6-bd4f-f46eb5f096c9" providerId="ADAL" clId="{5B76CEF1-A6E3-49E3-8F70-F81E9495ECB4}" dt="2023-08-17T14:23:42.759" v="7109" actId="207"/>
        <pc:sldMkLst>
          <pc:docMk/>
          <pc:sldMk cId="3097520747" sldId="571"/>
        </pc:sldMkLst>
        <pc:spChg chg="add mod">
          <ac:chgData name="Trauer" userId="aa8b9dc3-a64d-4cc6-bd4f-f46eb5f096c9" providerId="ADAL" clId="{5B76CEF1-A6E3-49E3-8F70-F81E9495ECB4}" dt="2023-08-17T14:23:21.645" v="7093"/>
          <ac:spMkLst>
            <pc:docMk/>
            <pc:sldMk cId="3097520747" sldId="571"/>
            <ac:spMk id="2" creationId="{0110153D-CEFB-F49D-0D36-F138862E890F}"/>
          </ac:spMkLst>
        </pc:spChg>
        <pc:spChg chg="add mod">
          <ac:chgData name="Trauer" userId="aa8b9dc3-a64d-4cc6-bd4f-f46eb5f096c9" providerId="ADAL" clId="{5B76CEF1-A6E3-49E3-8F70-F81E9495ECB4}" dt="2023-08-17T14:23:42.759" v="7109" actId="207"/>
          <ac:spMkLst>
            <pc:docMk/>
            <pc:sldMk cId="3097520747" sldId="571"/>
            <ac:spMk id="3" creationId="{7A5A3FAD-9182-3B49-9E9D-698774F3C675}"/>
          </ac:spMkLst>
        </pc:spChg>
      </pc:sldChg>
      <pc:sldChg chg="new add del">
        <pc:chgData name="Trauer" userId="aa8b9dc3-a64d-4cc6-bd4f-f46eb5f096c9" providerId="ADAL" clId="{5B76CEF1-A6E3-49E3-8F70-F81E9495ECB4}" dt="2023-08-14T16:09:24.290" v="2766" actId="47"/>
        <pc:sldMkLst>
          <pc:docMk/>
          <pc:sldMk cId="1145879388" sldId="572"/>
        </pc:sldMkLst>
      </pc:sldChg>
      <pc:sldChg chg="new del">
        <pc:chgData name="Trauer" userId="aa8b9dc3-a64d-4cc6-bd4f-f46eb5f096c9" providerId="ADAL" clId="{5B76CEF1-A6E3-49E3-8F70-F81E9495ECB4}" dt="2023-08-14T15:27:29.817" v="2599" actId="680"/>
        <pc:sldMkLst>
          <pc:docMk/>
          <pc:sldMk cId="3001435887" sldId="572"/>
        </pc:sldMkLst>
      </pc:sldChg>
      <pc:sldMasterChg chg="delSp mod delSldLayout">
        <pc:chgData name="Trauer" userId="aa8b9dc3-a64d-4cc6-bd4f-f46eb5f096c9" providerId="ADAL" clId="{5B76CEF1-A6E3-49E3-8F70-F81E9495ECB4}" dt="2023-08-14T16:15:48.930" v="3162" actId="478"/>
        <pc:sldMasterMkLst>
          <pc:docMk/>
          <pc:sldMasterMk cId="55589784" sldId="2147483728"/>
        </pc:sldMasterMkLst>
        <pc:spChg chg="del">
          <ac:chgData name="Trauer" userId="aa8b9dc3-a64d-4cc6-bd4f-f46eb5f096c9" providerId="ADAL" clId="{5B76CEF1-A6E3-49E3-8F70-F81E9495ECB4}" dt="2023-08-14T16:15:48.930" v="3162" actId="478"/>
          <ac:spMkLst>
            <pc:docMk/>
            <pc:sldMasterMk cId="55589784" sldId="2147483728"/>
            <ac:spMk id="2" creationId="{926E88B0-B5EB-4963-BFD1-B948B2CF75F4}"/>
          </ac:spMkLst>
        </pc:spChg>
        <pc:spChg chg="del">
          <ac:chgData name="Trauer" userId="aa8b9dc3-a64d-4cc6-bd4f-f46eb5f096c9" providerId="ADAL" clId="{5B76CEF1-A6E3-49E3-8F70-F81E9495ECB4}" dt="2023-08-14T16:15:48.930" v="3162" actId="478"/>
          <ac:spMkLst>
            <pc:docMk/>
            <pc:sldMasterMk cId="55589784" sldId="2147483728"/>
            <ac:spMk id="5" creationId="{248C8CF7-07BD-426E-8398-172D29BE4717}"/>
          </ac:spMkLst>
        </pc:spChg>
        <pc:spChg chg="del">
          <ac:chgData name="Trauer" userId="aa8b9dc3-a64d-4cc6-bd4f-f46eb5f096c9" providerId="ADAL" clId="{5B76CEF1-A6E3-49E3-8F70-F81E9495ECB4}" dt="2023-08-14T16:15:48.930" v="3162" actId="478"/>
          <ac:spMkLst>
            <pc:docMk/>
            <pc:sldMasterMk cId="55589784" sldId="2147483728"/>
            <ac:spMk id="6" creationId="{5BA0A2CE-C65C-42CC-940F-5E3D611FE345}"/>
          </ac:spMkLst>
        </pc:spChg>
        <pc:sldLayoutChg chg="del">
          <pc:chgData name="Trauer" userId="aa8b9dc3-a64d-4cc6-bd4f-f46eb5f096c9" providerId="ADAL" clId="{5B76CEF1-A6E3-49E3-8F70-F81E9495ECB4}" dt="2023-08-14T14:54:25.139" v="2183" actId="2696"/>
          <pc:sldLayoutMkLst>
            <pc:docMk/>
            <pc:sldMasterMk cId="55589784" sldId="2147483728"/>
            <pc:sldLayoutMk cId="4196451576" sldId="2147483729"/>
          </pc:sldLayoutMkLst>
        </pc:sldLayoutChg>
        <pc:sldLayoutChg chg="del">
          <pc:chgData name="Trauer" userId="aa8b9dc3-a64d-4cc6-bd4f-f46eb5f096c9" providerId="ADAL" clId="{5B76CEF1-A6E3-49E3-8F70-F81E9495ECB4}" dt="2023-08-14T14:54:25.146" v="2184" actId="2696"/>
          <pc:sldLayoutMkLst>
            <pc:docMk/>
            <pc:sldMasterMk cId="55589784" sldId="2147483728"/>
            <pc:sldLayoutMk cId="3374355602" sldId="2147483730"/>
          </pc:sldLayoutMkLst>
        </pc:sldLayoutChg>
        <pc:sldLayoutChg chg="del">
          <pc:chgData name="Trauer" userId="aa8b9dc3-a64d-4cc6-bd4f-f46eb5f096c9" providerId="ADAL" clId="{5B76CEF1-A6E3-49E3-8F70-F81E9495ECB4}" dt="2023-08-14T14:54:25.156" v="2185" actId="2696"/>
          <pc:sldLayoutMkLst>
            <pc:docMk/>
            <pc:sldMasterMk cId="55589784" sldId="2147483728"/>
            <pc:sldLayoutMk cId="2072036129" sldId="2147483731"/>
          </pc:sldLayoutMkLst>
        </pc:sldLayoutChg>
        <pc:sldLayoutChg chg="del">
          <pc:chgData name="Trauer" userId="aa8b9dc3-a64d-4cc6-bd4f-f46eb5f096c9" providerId="ADAL" clId="{5B76CEF1-A6E3-49E3-8F70-F81E9495ECB4}" dt="2023-08-14T14:54:25.170" v="2186" actId="2696"/>
          <pc:sldLayoutMkLst>
            <pc:docMk/>
            <pc:sldMasterMk cId="55589784" sldId="2147483728"/>
            <pc:sldLayoutMk cId="1124559519" sldId="2147483732"/>
          </pc:sldLayoutMkLst>
        </pc:sldLayoutChg>
        <pc:sldLayoutChg chg="del">
          <pc:chgData name="Trauer" userId="aa8b9dc3-a64d-4cc6-bd4f-f46eb5f096c9" providerId="ADAL" clId="{5B76CEF1-A6E3-49E3-8F70-F81E9495ECB4}" dt="2023-08-14T14:54:25.124" v="2182" actId="2696"/>
          <pc:sldLayoutMkLst>
            <pc:docMk/>
            <pc:sldMasterMk cId="55589784" sldId="2147483728"/>
            <pc:sldLayoutMk cId="510052288" sldId="2147483733"/>
          </pc:sldLayoutMkLst>
        </pc:sldLayoutChg>
        <pc:sldLayoutChg chg="del">
          <pc:chgData name="Trauer" userId="aa8b9dc3-a64d-4cc6-bd4f-f46eb5f096c9" providerId="ADAL" clId="{5B76CEF1-A6E3-49E3-8F70-F81E9495ECB4}" dt="2023-08-14T14:54:18.562" v="2181" actId="2696"/>
          <pc:sldLayoutMkLst>
            <pc:docMk/>
            <pc:sldMasterMk cId="55589784" sldId="2147483728"/>
            <pc:sldLayoutMk cId="1902043928" sldId="2147483734"/>
          </pc:sldLayoutMkLst>
        </pc:sldLayoutChg>
        <pc:sldLayoutChg chg="del">
          <pc:chgData name="Trauer" userId="aa8b9dc3-a64d-4cc6-bd4f-f46eb5f096c9" providerId="ADAL" clId="{5B76CEF1-A6E3-49E3-8F70-F81E9495ECB4}" dt="2023-08-14T14:54:10.588" v="2180" actId="2696"/>
          <pc:sldLayoutMkLst>
            <pc:docMk/>
            <pc:sldMasterMk cId="55589784" sldId="2147483728"/>
            <pc:sldLayoutMk cId="2149800543" sldId="2147483735"/>
          </pc:sldLayoutMkLst>
        </pc:sldLayoutChg>
        <pc:sldLayoutChg chg="del">
          <pc:chgData name="Trauer" userId="aa8b9dc3-a64d-4cc6-bd4f-f46eb5f096c9" providerId="ADAL" clId="{5B76CEF1-A6E3-49E3-8F70-F81E9495ECB4}" dt="2023-08-14T16:09:24.290" v="2766" actId="47"/>
          <pc:sldLayoutMkLst>
            <pc:docMk/>
            <pc:sldMasterMk cId="55589784" sldId="2147483728"/>
            <pc:sldLayoutMk cId="624544421" sldId="2147483763"/>
          </pc:sldLayoutMkLst>
        </pc:sldLayoutChg>
        <pc:sldLayoutChg chg="del">
          <pc:chgData name="Trauer" userId="aa8b9dc3-a64d-4cc6-bd4f-f46eb5f096c9" providerId="ADAL" clId="{5B76CEF1-A6E3-49E3-8F70-F81E9495ECB4}" dt="2023-08-14T16:09:24.290" v="2766" actId="47"/>
          <pc:sldLayoutMkLst>
            <pc:docMk/>
            <pc:sldMasterMk cId="55589784" sldId="2147483728"/>
            <pc:sldLayoutMk cId="134857724" sldId="2147483764"/>
          </pc:sldLayoutMkLst>
        </pc:sldLayoutChg>
        <pc:sldLayoutChg chg="del">
          <pc:chgData name="Trauer" userId="aa8b9dc3-a64d-4cc6-bd4f-f46eb5f096c9" providerId="ADAL" clId="{5B76CEF1-A6E3-49E3-8F70-F81E9495ECB4}" dt="2023-08-14T16:09:24.290" v="2766" actId="47"/>
          <pc:sldLayoutMkLst>
            <pc:docMk/>
            <pc:sldMasterMk cId="55589784" sldId="2147483728"/>
            <pc:sldLayoutMk cId="1295845865" sldId="2147483765"/>
          </pc:sldLayoutMkLst>
        </pc:sldLayoutChg>
        <pc:sldLayoutChg chg="del">
          <pc:chgData name="Trauer" userId="aa8b9dc3-a64d-4cc6-bd4f-f46eb5f096c9" providerId="ADAL" clId="{5B76CEF1-A6E3-49E3-8F70-F81E9495ECB4}" dt="2023-08-14T16:09:24.290" v="2766" actId="47"/>
          <pc:sldLayoutMkLst>
            <pc:docMk/>
            <pc:sldMasterMk cId="55589784" sldId="2147483728"/>
            <pc:sldLayoutMk cId="4034920718" sldId="2147483766"/>
          </pc:sldLayoutMkLst>
        </pc:sldLayoutChg>
      </pc:sldMasterChg>
      <pc:sldMasterChg chg="addSp delSp modSp add del mod addSldLayout delSldLayout modSldLayout sldLayoutOrd">
        <pc:chgData name="Trauer" userId="aa8b9dc3-a64d-4cc6-bd4f-f46eb5f096c9" providerId="ADAL" clId="{5B76CEF1-A6E3-49E3-8F70-F81E9495ECB4}" dt="2023-08-14T16:59:46.796" v="3405" actId="478"/>
        <pc:sldMasterMkLst>
          <pc:docMk/>
          <pc:sldMasterMk cId="2655679949" sldId="2147483736"/>
        </pc:sldMasterMkLst>
        <pc:spChg chg="del mod">
          <ac:chgData name="Trauer" userId="aa8b9dc3-a64d-4cc6-bd4f-f46eb5f096c9" providerId="ADAL" clId="{5B76CEF1-A6E3-49E3-8F70-F81E9495ECB4}" dt="2023-08-14T15:05:27.194" v="2293" actId="21"/>
          <ac:spMkLst>
            <pc:docMk/>
            <pc:sldMasterMk cId="2655679949" sldId="2147483736"/>
            <ac:spMk id="6" creationId="{5BA0A2CE-C65C-42CC-940F-5E3D611FE345}"/>
          </ac:spMkLst>
        </pc:spChg>
        <pc:spChg chg="del mod ord topLvl">
          <ac:chgData name="Trauer" userId="aa8b9dc3-a64d-4cc6-bd4f-f46eb5f096c9" providerId="ADAL" clId="{5B76CEF1-A6E3-49E3-8F70-F81E9495ECB4}" dt="2023-08-14T15:05:03.120" v="2290" actId="478"/>
          <ac:spMkLst>
            <pc:docMk/>
            <pc:sldMasterMk cId="2655679949" sldId="2147483736"/>
            <ac:spMk id="125" creationId="{7410D19C-C3CC-194D-A249-4AAD36F26397}"/>
          </ac:spMkLst>
        </pc:spChg>
        <pc:spChg chg="add del mod ord">
          <ac:chgData name="Trauer" userId="aa8b9dc3-a64d-4cc6-bd4f-f46eb5f096c9" providerId="ADAL" clId="{5B76CEF1-A6E3-49E3-8F70-F81E9495ECB4}" dt="2023-08-14T14:59:24.339" v="2206" actId="21"/>
          <ac:spMkLst>
            <pc:docMk/>
            <pc:sldMasterMk cId="2655679949" sldId="2147483736"/>
            <ac:spMk id="128" creationId="{783CED5B-DFA0-64E3-77B6-CE275BFD4BE8}"/>
          </ac:spMkLst>
        </pc:spChg>
        <pc:spChg chg="add del mod">
          <ac:chgData name="Trauer" userId="aa8b9dc3-a64d-4cc6-bd4f-f46eb5f096c9" providerId="ADAL" clId="{5B76CEF1-A6E3-49E3-8F70-F81E9495ECB4}" dt="2023-08-14T14:59:24.339" v="2206" actId="21"/>
          <ac:spMkLst>
            <pc:docMk/>
            <pc:sldMasterMk cId="2655679949" sldId="2147483736"/>
            <ac:spMk id="129" creationId="{8BEBF2B7-69E1-F940-B0B4-1E8EB82D86D5}"/>
          </ac:spMkLst>
        </pc:spChg>
        <pc:spChg chg="add del mod">
          <ac:chgData name="Trauer" userId="aa8b9dc3-a64d-4cc6-bd4f-f46eb5f096c9" providerId="ADAL" clId="{5B76CEF1-A6E3-49E3-8F70-F81E9495ECB4}" dt="2023-08-14T14:59:24.339" v="2206" actId="21"/>
          <ac:spMkLst>
            <pc:docMk/>
            <pc:sldMasterMk cId="2655679949" sldId="2147483736"/>
            <ac:spMk id="130" creationId="{3737377B-0EF0-991D-9C91-EE7934BD6963}"/>
          </ac:spMkLst>
        </pc:spChg>
        <pc:spChg chg="add del mod">
          <ac:chgData name="Trauer" userId="aa8b9dc3-a64d-4cc6-bd4f-f46eb5f096c9" providerId="ADAL" clId="{5B76CEF1-A6E3-49E3-8F70-F81E9495ECB4}" dt="2023-08-14T14:59:24.339" v="2206" actId="21"/>
          <ac:spMkLst>
            <pc:docMk/>
            <pc:sldMasterMk cId="2655679949" sldId="2147483736"/>
            <ac:spMk id="131" creationId="{8A72C8E3-0799-83E8-9665-E4D0C6CB2BA2}"/>
          </ac:spMkLst>
        </pc:spChg>
        <pc:spChg chg="add del mod">
          <ac:chgData name="Trauer" userId="aa8b9dc3-a64d-4cc6-bd4f-f46eb5f096c9" providerId="ADAL" clId="{5B76CEF1-A6E3-49E3-8F70-F81E9495ECB4}" dt="2023-08-14T14:59:24.339" v="2206" actId="21"/>
          <ac:spMkLst>
            <pc:docMk/>
            <pc:sldMasterMk cId="2655679949" sldId="2147483736"/>
            <ac:spMk id="132" creationId="{BEDC208B-785C-5ACD-4FCE-C8111E8C0265}"/>
          </ac:spMkLst>
        </pc:spChg>
        <pc:spChg chg="add del mod">
          <ac:chgData name="Trauer" userId="aa8b9dc3-a64d-4cc6-bd4f-f46eb5f096c9" providerId="ADAL" clId="{5B76CEF1-A6E3-49E3-8F70-F81E9495ECB4}" dt="2023-08-14T14:59:24.339" v="2206" actId="21"/>
          <ac:spMkLst>
            <pc:docMk/>
            <pc:sldMasterMk cId="2655679949" sldId="2147483736"/>
            <ac:spMk id="133" creationId="{B021CF30-C751-8D03-EE0F-BBCEAD36C3AC}"/>
          </ac:spMkLst>
        </pc:spChg>
        <pc:spChg chg="add del mod">
          <ac:chgData name="Trauer" userId="aa8b9dc3-a64d-4cc6-bd4f-f46eb5f096c9" providerId="ADAL" clId="{5B76CEF1-A6E3-49E3-8F70-F81E9495ECB4}" dt="2023-08-14T14:59:24.339" v="2206" actId="21"/>
          <ac:spMkLst>
            <pc:docMk/>
            <pc:sldMasterMk cId="2655679949" sldId="2147483736"/>
            <ac:spMk id="134" creationId="{CC9C6D5C-2288-834A-7CA4-632693321234}"/>
          </ac:spMkLst>
        </pc:spChg>
        <pc:spChg chg="add del mod">
          <ac:chgData name="Trauer" userId="aa8b9dc3-a64d-4cc6-bd4f-f46eb5f096c9" providerId="ADAL" clId="{5B76CEF1-A6E3-49E3-8F70-F81E9495ECB4}" dt="2023-08-14T14:59:24.339" v="2206" actId="21"/>
          <ac:spMkLst>
            <pc:docMk/>
            <pc:sldMasterMk cId="2655679949" sldId="2147483736"/>
            <ac:spMk id="135" creationId="{D66B90DC-B60B-1FEB-0A42-1296E3DA0822}"/>
          </ac:spMkLst>
        </pc:spChg>
        <pc:spChg chg="add del mod">
          <ac:chgData name="Trauer" userId="aa8b9dc3-a64d-4cc6-bd4f-f46eb5f096c9" providerId="ADAL" clId="{5B76CEF1-A6E3-49E3-8F70-F81E9495ECB4}" dt="2023-08-14T14:59:24.339" v="2206" actId="21"/>
          <ac:spMkLst>
            <pc:docMk/>
            <pc:sldMasterMk cId="2655679949" sldId="2147483736"/>
            <ac:spMk id="136" creationId="{0AB967DC-1169-93B3-9D24-E1895F7ECC86}"/>
          </ac:spMkLst>
        </pc:spChg>
        <pc:spChg chg="add del mod">
          <ac:chgData name="Trauer" userId="aa8b9dc3-a64d-4cc6-bd4f-f46eb5f096c9" providerId="ADAL" clId="{5B76CEF1-A6E3-49E3-8F70-F81E9495ECB4}" dt="2023-08-14T15:07:05.134" v="2317" actId="21"/>
          <ac:spMkLst>
            <pc:docMk/>
            <pc:sldMasterMk cId="2655679949" sldId="2147483736"/>
            <ac:spMk id="137" creationId="{D4152708-DB7B-8499-7D01-8AB9EF7B1FE8}"/>
          </ac:spMkLst>
        </pc:spChg>
        <pc:spChg chg="add del mod">
          <ac:chgData name="Trauer" userId="aa8b9dc3-a64d-4cc6-bd4f-f46eb5f096c9" providerId="ADAL" clId="{5B76CEF1-A6E3-49E3-8F70-F81E9495ECB4}" dt="2023-08-14T15:07:05.134" v="2317" actId="21"/>
          <ac:spMkLst>
            <pc:docMk/>
            <pc:sldMasterMk cId="2655679949" sldId="2147483736"/>
            <ac:spMk id="138" creationId="{1CC7A5EF-760C-CCCD-EB16-BD1A634A1EC7}"/>
          </ac:spMkLst>
        </pc:spChg>
        <pc:spChg chg="add del mod">
          <ac:chgData name="Trauer" userId="aa8b9dc3-a64d-4cc6-bd4f-f46eb5f096c9" providerId="ADAL" clId="{5B76CEF1-A6E3-49E3-8F70-F81E9495ECB4}" dt="2023-08-14T15:07:05.134" v="2317" actId="21"/>
          <ac:spMkLst>
            <pc:docMk/>
            <pc:sldMasterMk cId="2655679949" sldId="2147483736"/>
            <ac:spMk id="139" creationId="{F03610ED-3C5F-FF0E-255B-C03A9D26D598}"/>
          </ac:spMkLst>
        </pc:spChg>
        <pc:spChg chg="add del mod ord">
          <ac:chgData name="Trauer" userId="aa8b9dc3-a64d-4cc6-bd4f-f46eb5f096c9" providerId="ADAL" clId="{5B76CEF1-A6E3-49E3-8F70-F81E9495ECB4}" dt="2023-08-14T14:59:24.339" v="2206" actId="21"/>
          <ac:spMkLst>
            <pc:docMk/>
            <pc:sldMasterMk cId="2655679949" sldId="2147483736"/>
            <ac:spMk id="140" creationId="{7A958471-5E02-2D26-5AF0-89DF82682B6E}"/>
          </ac:spMkLst>
        </pc:spChg>
        <pc:grpChg chg="del mod">
          <ac:chgData name="Trauer" userId="aa8b9dc3-a64d-4cc6-bd4f-f46eb5f096c9" providerId="ADAL" clId="{5B76CEF1-A6E3-49E3-8F70-F81E9495ECB4}" dt="2023-08-14T14:39:30.747" v="2029" actId="478"/>
          <ac:grpSpMkLst>
            <pc:docMk/>
            <pc:sldMasterMk cId="2655679949" sldId="2147483736"/>
            <ac:grpSpMk id="124" creationId="{57A15544-7352-4B68-6B53-162F7CB55B48}"/>
          </ac:grpSpMkLst>
        </pc:grpChg>
        <pc:cxnChg chg="del mod topLvl">
          <ac:chgData name="Trauer" userId="aa8b9dc3-a64d-4cc6-bd4f-f46eb5f096c9" providerId="ADAL" clId="{5B76CEF1-A6E3-49E3-8F70-F81E9495ECB4}" dt="2023-08-14T14:39:30.747" v="2029" actId="478"/>
          <ac:cxnSpMkLst>
            <pc:docMk/>
            <pc:sldMasterMk cId="2655679949" sldId="2147483736"/>
            <ac:cxnSpMk id="126" creationId="{6D92FBAA-B721-B1A8-C444-E22F14C9AB86}"/>
          </ac:cxnSpMkLst>
        </pc:cxnChg>
        <pc:sldLayoutChg chg="addSp delSp modSp add del mod ord">
          <pc:chgData name="Trauer" userId="aa8b9dc3-a64d-4cc6-bd4f-f46eb5f096c9" providerId="ADAL" clId="{5B76CEF1-A6E3-49E3-8F70-F81E9495ECB4}" dt="2023-08-14T16:19:22.865" v="3178" actId="21"/>
          <pc:sldLayoutMkLst>
            <pc:docMk/>
            <pc:sldMasterMk cId="2655679949" sldId="2147483736"/>
            <pc:sldLayoutMk cId="2370746265" sldId="2147483737"/>
          </pc:sldLayoutMkLst>
          <pc:spChg chg="mod">
            <ac:chgData name="Trauer" userId="aa8b9dc3-a64d-4cc6-bd4f-f46eb5f096c9" providerId="ADAL" clId="{5B76CEF1-A6E3-49E3-8F70-F81E9495ECB4}" dt="2023-08-14T15:00:21.199" v="2210" actId="207"/>
            <ac:spMkLst>
              <pc:docMk/>
              <pc:sldMasterMk cId="2655679949" sldId="2147483736"/>
              <pc:sldLayoutMk cId="2370746265" sldId="2147483737"/>
              <ac:spMk id="11" creationId="{A0EC2FF3-1AB5-F19C-9165-8F0F7A3E2E89}"/>
            </ac:spMkLst>
          </pc:spChg>
          <pc:spChg chg="mod">
            <ac:chgData name="Trauer" userId="aa8b9dc3-a64d-4cc6-bd4f-f46eb5f096c9" providerId="ADAL" clId="{5B76CEF1-A6E3-49E3-8F70-F81E9495ECB4}" dt="2023-08-14T10:28:20.493" v="858"/>
            <ac:spMkLst>
              <pc:docMk/>
              <pc:sldMasterMk cId="2655679949" sldId="2147483736"/>
              <pc:sldLayoutMk cId="2370746265" sldId="2147483737"/>
              <ac:spMk id="72" creationId="{CA41234F-2DE1-B0DF-5524-8EF4726FE774}"/>
            </ac:spMkLst>
          </pc:spChg>
          <pc:spChg chg="mod">
            <ac:chgData name="Trauer" userId="aa8b9dc3-a64d-4cc6-bd4f-f46eb5f096c9" providerId="ADAL" clId="{5B76CEF1-A6E3-49E3-8F70-F81E9495ECB4}" dt="2023-08-14T10:28:20.491" v="857"/>
            <ac:spMkLst>
              <pc:docMk/>
              <pc:sldMasterMk cId="2655679949" sldId="2147483736"/>
              <pc:sldLayoutMk cId="2370746265" sldId="2147483737"/>
              <ac:spMk id="73" creationId="{D72F3B55-446C-82C1-1C33-245969C90473}"/>
            </ac:spMkLst>
          </pc:spChg>
          <pc:spChg chg="mod">
            <ac:chgData name="Trauer" userId="aa8b9dc3-a64d-4cc6-bd4f-f46eb5f096c9" providerId="ADAL" clId="{5B76CEF1-A6E3-49E3-8F70-F81E9495ECB4}" dt="2023-08-14T10:28:20.488" v="856"/>
            <ac:spMkLst>
              <pc:docMk/>
              <pc:sldMasterMk cId="2655679949" sldId="2147483736"/>
              <pc:sldLayoutMk cId="2370746265" sldId="2147483737"/>
              <ac:spMk id="74" creationId="{418827B4-3FBE-50FA-7010-2559C68EB7A9}"/>
            </ac:spMkLst>
          </pc:spChg>
          <pc:spChg chg="mod">
            <ac:chgData name="Trauer" userId="aa8b9dc3-a64d-4cc6-bd4f-f46eb5f096c9" providerId="ADAL" clId="{5B76CEF1-A6E3-49E3-8F70-F81E9495ECB4}" dt="2023-08-14T10:30:05.547" v="877" actId="6549"/>
            <ac:spMkLst>
              <pc:docMk/>
              <pc:sldMasterMk cId="2655679949" sldId="2147483736"/>
              <pc:sldLayoutMk cId="2370746265" sldId="2147483737"/>
              <ac:spMk id="75" creationId="{54F5756C-3B76-65ED-596C-DF389DD606E1}"/>
            </ac:spMkLst>
          </pc:spChg>
          <pc:spChg chg="mod">
            <ac:chgData name="Trauer" userId="aa8b9dc3-a64d-4cc6-bd4f-f46eb5f096c9" providerId="ADAL" clId="{5B76CEF1-A6E3-49E3-8F70-F81E9495ECB4}" dt="2023-08-14T10:28:52.183" v="865" actId="465"/>
            <ac:spMkLst>
              <pc:docMk/>
              <pc:sldMasterMk cId="2655679949" sldId="2147483736"/>
              <pc:sldLayoutMk cId="2370746265" sldId="2147483737"/>
              <ac:spMk id="76" creationId="{F0F1C157-DF4E-3990-1152-1BBE17D1BE18}"/>
            </ac:spMkLst>
          </pc:spChg>
          <pc:spChg chg="mod">
            <ac:chgData name="Trauer" userId="aa8b9dc3-a64d-4cc6-bd4f-f46eb5f096c9" providerId="ADAL" clId="{5B76CEF1-A6E3-49E3-8F70-F81E9495ECB4}" dt="2023-08-14T10:28:52.183" v="865" actId="465"/>
            <ac:spMkLst>
              <pc:docMk/>
              <pc:sldMasterMk cId="2655679949" sldId="2147483736"/>
              <pc:sldLayoutMk cId="2370746265" sldId="2147483737"/>
              <ac:spMk id="77" creationId="{1BA41F7C-99E0-2B3D-04D2-1579499CE6EC}"/>
            </ac:spMkLst>
          </pc:spChg>
          <pc:spChg chg="mod">
            <ac:chgData name="Trauer" userId="aa8b9dc3-a64d-4cc6-bd4f-f46eb5f096c9" providerId="ADAL" clId="{5B76CEF1-A6E3-49E3-8F70-F81E9495ECB4}" dt="2023-08-14T10:28:20.480" v="851"/>
            <ac:spMkLst>
              <pc:docMk/>
              <pc:sldMasterMk cId="2655679949" sldId="2147483736"/>
              <pc:sldLayoutMk cId="2370746265" sldId="2147483737"/>
              <ac:spMk id="78" creationId="{3E93D8CD-3A4D-C479-BF55-9D1778107EDE}"/>
            </ac:spMkLst>
          </pc:spChg>
          <pc:spChg chg="mod">
            <ac:chgData name="Trauer" userId="aa8b9dc3-a64d-4cc6-bd4f-f46eb5f096c9" providerId="ADAL" clId="{5B76CEF1-A6E3-49E3-8F70-F81E9495ECB4}" dt="2023-08-14T10:30:12.072" v="880" actId="6549"/>
            <ac:spMkLst>
              <pc:docMk/>
              <pc:sldMasterMk cId="2655679949" sldId="2147483736"/>
              <pc:sldLayoutMk cId="2370746265" sldId="2147483737"/>
              <ac:spMk id="79" creationId="{9A8C31BC-E1AD-4F11-A995-061C18662E67}"/>
            </ac:spMkLst>
          </pc:spChg>
          <pc:spChg chg="mod">
            <ac:chgData name="Trauer" userId="aa8b9dc3-a64d-4cc6-bd4f-f46eb5f096c9" providerId="ADAL" clId="{5B76CEF1-A6E3-49E3-8F70-F81E9495ECB4}" dt="2023-08-14T10:28:20.495" v="860"/>
            <ac:spMkLst>
              <pc:docMk/>
              <pc:sldMasterMk cId="2655679949" sldId="2147483736"/>
              <pc:sldLayoutMk cId="2370746265" sldId="2147483737"/>
              <ac:spMk id="80" creationId="{BC999ACD-4D83-9D3F-8E34-E397E7A7369A}"/>
            </ac:spMkLst>
          </pc:spChg>
          <pc:spChg chg="add del mod">
            <ac:chgData name="Trauer" userId="aa8b9dc3-a64d-4cc6-bd4f-f46eb5f096c9" providerId="ADAL" clId="{5B76CEF1-A6E3-49E3-8F70-F81E9495ECB4}" dt="2023-08-14T10:28:36.646" v="862"/>
            <ac:spMkLst>
              <pc:docMk/>
              <pc:sldMasterMk cId="2655679949" sldId="2147483736"/>
              <pc:sldLayoutMk cId="2370746265" sldId="2147483737"/>
              <ac:spMk id="84" creationId="{4F11ABDB-3802-4460-EE10-609F213B5A78}"/>
            </ac:spMkLst>
          </pc:spChg>
          <pc:spChg chg="mod">
            <ac:chgData name="Trauer" userId="aa8b9dc3-a64d-4cc6-bd4f-f46eb5f096c9" providerId="ADAL" clId="{5B76CEF1-A6E3-49E3-8F70-F81E9495ECB4}" dt="2023-08-14T14:49:13.008" v="2094" actId="14100"/>
            <ac:spMkLst>
              <pc:docMk/>
              <pc:sldMasterMk cId="2655679949" sldId="2147483736"/>
              <pc:sldLayoutMk cId="2370746265" sldId="2147483737"/>
              <ac:spMk id="86" creationId="{BD5B1968-C3B1-FC49-EB75-CF8A5502A166}"/>
            </ac:spMkLst>
          </pc:spChg>
          <pc:spChg chg="mod">
            <ac:chgData name="Trauer" userId="aa8b9dc3-a64d-4cc6-bd4f-f46eb5f096c9" providerId="ADAL" clId="{5B76CEF1-A6E3-49E3-8F70-F81E9495ECB4}" dt="2023-08-14T10:28:36.648" v="864"/>
            <ac:spMkLst>
              <pc:docMk/>
              <pc:sldMasterMk cId="2655679949" sldId="2147483736"/>
              <pc:sldLayoutMk cId="2370746265" sldId="2147483737"/>
              <ac:spMk id="88" creationId="{8B0078B0-4D79-1501-BC86-F4BEF3E5B443}"/>
            </ac:spMkLst>
          </pc:spChg>
          <pc:spChg chg="del">
            <ac:chgData name="Trauer" userId="aa8b9dc3-a64d-4cc6-bd4f-f46eb5f096c9" providerId="ADAL" clId="{5B76CEF1-A6E3-49E3-8F70-F81E9495ECB4}" dt="2023-08-14T10:15:20.511" v="398" actId="478"/>
            <ac:spMkLst>
              <pc:docMk/>
              <pc:sldMasterMk cId="2655679949" sldId="2147483736"/>
              <pc:sldLayoutMk cId="2370746265" sldId="2147483737"/>
              <ac:spMk id="108" creationId="{94CDB2F6-0488-A1A9-1C3E-279E193BE277}"/>
            </ac:spMkLst>
          </pc:spChg>
          <pc:spChg chg="del">
            <ac:chgData name="Trauer" userId="aa8b9dc3-a64d-4cc6-bd4f-f46eb5f096c9" providerId="ADAL" clId="{5B76CEF1-A6E3-49E3-8F70-F81E9495ECB4}" dt="2023-08-14T10:15:21.701" v="399" actId="478"/>
            <ac:spMkLst>
              <pc:docMk/>
              <pc:sldMasterMk cId="2655679949" sldId="2147483736"/>
              <pc:sldLayoutMk cId="2370746265" sldId="2147483737"/>
              <ac:spMk id="109" creationId="{EF64C1AD-7A8B-FFAC-4E64-904C26024697}"/>
            </ac:spMkLst>
          </pc:spChg>
          <pc:spChg chg="del">
            <ac:chgData name="Trauer" userId="aa8b9dc3-a64d-4cc6-bd4f-f46eb5f096c9" providerId="ADAL" clId="{5B76CEF1-A6E3-49E3-8F70-F81E9495ECB4}" dt="2023-08-14T10:15:13.312" v="393" actId="478"/>
            <ac:spMkLst>
              <pc:docMk/>
              <pc:sldMasterMk cId="2655679949" sldId="2147483736"/>
              <pc:sldLayoutMk cId="2370746265" sldId="2147483737"/>
              <ac:spMk id="128" creationId="{6C5CB84A-CE8E-A57D-C91E-E6338AD0DE86}"/>
            </ac:spMkLst>
          </pc:spChg>
          <pc:spChg chg="del">
            <ac:chgData name="Trauer" userId="aa8b9dc3-a64d-4cc6-bd4f-f46eb5f096c9" providerId="ADAL" clId="{5B76CEF1-A6E3-49E3-8F70-F81E9495ECB4}" dt="2023-08-14T10:15:18.125" v="396" actId="478"/>
            <ac:spMkLst>
              <pc:docMk/>
              <pc:sldMasterMk cId="2655679949" sldId="2147483736"/>
              <pc:sldLayoutMk cId="2370746265" sldId="2147483737"/>
              <ac:spMk id="129" creationId="{ABEBE5A0-8CBC-38C5-012A-B4DC896E456C}"/>
            </ac:spMkLst>
          </pc:spChg>
          <pc:spChg chg="add del">
            <ac:chgData name="Trauer" userId="aa8b9dc3-a64d-4cc6-bd4f-f46eb5f096c9" providerId="ADAL" clId="{5B76CEF1-A6E3-49E3-8F70-F81E9495ECB4}" dt="2023-08-14T10:08:05.854" v="180" actId="11529"/>
            <ac:spMkLst>
              <pc:docMk/>
              <pc:sldMasterMk cId="2655679949" sldId="2147483736"/>
              <pc:sldLayoutMk cId="2370746265" sldId="2147483737"/>
              <ac:spMk id="130" creationId="{50C77FE0-3CE6-9EAA-1CD9-B417C9B4230A}"/>
            </ac:spMkLst>
          </pc:spChg>
          <pc:spChg chg="add mod">
            <ac:chgData name="Trauer" userId="aa8b9dc3-a64d-4cc6-bd4f-f46eb5f096c9" providerId="ADAL" clId="{5B76CEF1-A6E3-49E3-8F70-F81E9495ECB4}" dt="2023-08-14T10:27:41.257" v="828" actId="790"/>
            <ac:spMkLst>
              <pc:docMk/>
              <pc:sldMasterMk cId="2655679949" sldId="2147483736"/>
              <pc:sldLayoutMk cId="2370746265" sldId="2147483737"/>
              <ac:spMk id="131" creationId="{81968B88-B87A-F46F-C16C-B49EFD14C11F}"/>
            </ac:spMkLst>
          </pc:spChg>
          <pc:spChg chg="add mod">
            <ac:chgData name="Trauer" userId="aa8b9dc3-a64d-4cc6-bd4f-f46eb5f096c9" providerId="ADAL" clId="{5B76CEF1-A6E3-49E3-8F70-F81E9495ECB4}" dt="2023-08-14T10:27:41.260" v="829" actId="790"/>
            <ac:spMkLst>
              <pc:docMk/>
              <pc:sldMasterMk cId="2655679949" sldId="2147483736"/>
              <pc:sldLayoutMk cId="2370746265" sldId="2147483737"/>
              <ac:spMk id="132" creationId="{962674AC-6098-7B1E-595E-3315DD83A840}"/>
            </ac:spMkLst>
          </pc:spChg>
          <pc:spChg chg="add mod">
            <ac:chgData name="Trauer" userId="aa8b9dc3-a64d-4cc6-bd4f-f46eb5f096c9" providerId="ADAL" clId="{5B76CEF1-A6E3-49E3-8F70-F81E9495ECB4}" dt="2023-08-14T10:10:12.636" v="200" actId="571"/>
            <ac:spMkLst>
              <pc:docMk/>
              <pc:sldMasterMk cId="2655679949" sldId="2147483736"/>
              <pc:sldLayoutMk cId="2370746265" sldId="2147483737"/>
              <ac:spMk id="133" creationId="{7FE0F66E-5B4D-1470-329E-FB2137604D44}"/>
            </ac:spMkLst>
          </pc:spChg>
          <pc:spChg chg="add mod">
            <ac:chgData name="Trauer" userId="aa8b9dc3-a64d-4cc6-bd4f-f46eb5f096c9" providerId="ADAL" clId="{5B76CEF1-A6E3-49E3-8F70-F81E9495ECB4}" dt="2023-08-14T10:27:41.264" v="830" actId="790"/>
            <ac:spMkLst>
              <pc:docMk/>
              <pc:sldMasterMk cId="2655679949" sldId="2147483736"/>
              <pc:sldLayoutMk cId="2370746265" sldId="2147483737"/>
              <ac:spMk id="134" creationId="{4692B13A-6F81-32A4-CF60-45B6EA31E04C}"/>
            </ac:spMkLst>
          </pc:spChg>
          <pc:spChg chg="add mod">
            <ac:chgData name="Trauer" userId="aa8b9dc3-a64d-4cc6-bd4f-f46eb5f096c9" providerId="ADAL" clId="{5B76CEF1-A6E3-49E3-8F70-F81E9495ECB4}" dt="2023-08-14T14:49:17.608" v="2095" actId="14100"/>
            <ac:spMkLst>
              <pc:docMk/>
              <pc:sldMasterMk cId="2655679949" sldId="2147483736"/>
              <pc:sldLayoutMk cId="2370746265" sldId="2147483737"/>
              <ac:spMk id="135" creationId="{64D79746-5E2C-F9C7-77DA-C1105CA051C2}"/>
            </ac:spMkLst>
          </pc:spChg>
          <pc:spChg chg="add del">
            <ac:chgData name="Trauer" userId="aa8b9dc3-a64d-4cc6-bd4f-f46eb5f096c9" providerId="ADAL" clId="{5B76CEF1-A6E3-49E3-8F70-F81E9495ECB4}" dt="2023-08-14T10:16:13.747" v="407" actId="11529"/>
            <ac:spMkLst>
              <pc:docMk/>
              <pc:sldMasterMk cId="2655679949" sldId="2147483736"/>
              <pc:sldLayoutMk cId="2370746265" sldId="2147483737"/>
              <ac:spMk id="136" creationId="{00FE0ED6-85EB-4E11-1239-1C5F08B5D8FD}"/>
            </ac:spMkLst>
          </pc:spChg>
          <pc:spChg chg="add mod">
            <ac:chgData name="Trauer" userId="aa8b9dc3-a64d-4cc6-bd4f-f46eb5f096c9" providerId="ADAL" clId="{5B76CEF1-A6E3-49E3-8F70-F81E9495ECB4}" dt="2023-08-14T10:29:44.141" v="874" actId="3064"/>
            <ac:spMkLst>
              <pc:docMk/>
              <pc:sldMasterMk cId="2655679949" sldId="2147483736"/>
              <pc:sldLayoutMk cId="2370746265" sldId="2147483737"/>
              <ac:spMk id="137" creationId="{B14CCF13-51DA-8080-F776-DB89F331B563}"/>
            </ac:spMkLst>
          </pc:spChg>
          <pc:spChg chg="add del">
            <ac:chgData name="Trauer" userId="aa8b9dc3-a64d-4cc6-bd4f-f46eb5f096c9" providerId="ADAL" clId="{5B76CEF1-A6E3-49E3-8F70-F81E9495ECB4}" dt="2023-08-14T10:25:26.028" v="710" actId="11529"/>
            <ac:spMkLst>
              <pc:docMk/>
              <pc:sldMasterMk cId="2655679949" sldId="2147483736"/>
              <pc:sldLayoutMk cId="2370746265" sldId="2147483737"/>
              <ac:spMk id="138" creationId="{17E2ED29-EBB7-EC5A-1ED3-9F81A6A5B14C}"/>
            </ac:spMkLst>
          </pc:spChg>
          <pc:spChg chg="add mod">
            <ac:chgData name="Trauer" userId="aa8b9dc3-a64d-4cc6-bd4f-f46eb5f096c9" providerId="ADAL" clId="{5B76CEF1-A6E3-49E3-8F70-F81E9495ECB4}" dt="2023-08-14T10:27:54.739" v="836" actId="3064"/>
            <ac:spMkLst>
              <pc:docMk/>
              <pc:sldMasterMk cId="2655679949" sldId="2147483736"/>
              <pc:sldLayoutMk cId="2370746265" sldId="2147483737"/>
              <ac:spMk id="139" creationId="{256B5BC8-49C1-39F1-7826-693D3DE7AC39}"/>
            </ac:spMkLst>
          </pc:spChg>
          <pc:spChg chg="add mod">
            <ac:chgData name="Trauer" userId="aa8b9dc3-a64d-4cc6-bd4f-f46eb5f096c9" providerId="ADAL" clId="{5B76CEF1-A6E3-49E3-8F70-F81E9495ECB4}" dt="2023-08-14T10:27:54.739" v="836" actId="3064"/>
            <ac:spMkLst>
              <pc:docMk/>
              <pc:sldMasterMk cId="2655679949" sldId="2147483736"/>
              <pc:sldLayoutMk cId="2370746265" sldId="2147483737"/>
              <ac:spMk id="140" creationId="{C08ADABF-4D85-5998-9953-D83BFFC13928}"/>
            </ac:spMkLst>
          </pc:spChg>
          <pc:spChg chg="add mod">
            <ac:chgData name="Trauer" userId="aa8b9dc3-a64d-4cc6-bd4f-f46eb5f096c9" providerId="ADAL" clId="{5B76CEF1-A6E3-49E3-8F70-F81E9495ECB4}" dt="2023-08-14T10:29:14.088" v="873" actId="1035"/>
            <ac:spMkLst>
              <pc:docMk/>
              <pc:sldMasterMk cId="2655679949" sldId="2147483736"/>
              <pc:sldLayoutMk cId="2370746265" sldId="2147483737"/>
              <ac:spMk id="141" creationId="{2ACBCB12-6539-E9CF-2198-16E4C6FABDBA}"/>
            </ac:spMkLst>
          </pc:spChg>
          <pc:spChg chg="add mod">
            <ac:chgData name="Trauer" userId="aa8b9dc3-a64d-4cc6-bd4f-f46eb5f096c9" providerId="ADAL" clId="{5B76CEF1-A6E3-49E3-8F70-F81E9495ECB4}" dt="2023-08-14T10:31:35.231" v="921" actId="20577"/>
            <ac:spMkLst>
              <pc:docMk/>
              <pc:sldMasterMk cId="2655679949" sldId="2147483736"/>
              <pc:sldLayoutMk cId="2370746265" sldId="2147483737"/>
              <ac:spMk id="142" creationId="{94277159-B185-E8AD-C2DE-B7B00A2332A3}"/>
            </ac:spMkLst>
          </pc:spChg>
          <pc:spChg chg="add mod">
            <ac:chgData name="Trauer" userId="aa8b9dc3-a64d-4cc6-bd4f-f46eb5f096c9" providerId="ADAL" clId="{5B76CEF1-A6E3-49E3-8F70-F81E9495ECB4}" dt="2023-08-14T10:32:01.118" v="970" actId="20577"/>
            <ac:spMkLst>
              <pc:docMk/>
              <pc:sldMasterMk cId="2655679949" sldId="2147483736"/>
              <pc:sldLayoutMk cId="2370746265" sldId="2147483737"/>
              <ac:spMk id="143" creationId="{5B53BEDB-8B6A-365E-AAF5-62B2158925FD}"/>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4" creationId="{1C86D1B5-9BD0-98AE-E50A-D2E9EBB39A36}"/>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5" creationId="{75ABFF2A-1BB1-DD5A-A99C-D53B7E7C61D9}"/>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6" creationId="{102ABAB2-D028-4BAD-A328-95D4B6AF2EFB}"/>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7" creationId="{9A25F30A-F569-37D0-C1F9-5F03919896D1}"/>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8" creationId="{43F6D010-488D-4413-0423-6F590A45CEE6}"/>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49" creationId="{D20CF214-D3A7-959E-E81D-37B19AE8C7CC}"/>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50" creationId="{E29E281B-080C-CE7E-0A76-2C6053DEBD7E}"/>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51" creationId="{D7069550-A490-4F4F-02B7-EDB61B8D15DF}"/>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52" creationId="{F91C613C-5448-C87F-1864-817F4D34ADF7}"/>
            </ac:spMkLst>
          </pc:spChg>
          <pc:spChg chg="add del mod">
            <ac:chgData name="Trauer" userId="aa8b9dc3-a64d-4cc6-bd4f-f46eb5f096c9" providerId="ADAL" clId="{5B76CEF1-A6E3-49E3-8F70-F81E9495ECB4}" dt="2023-08-14T16:19:22.865" v="3178" actId="21"/>
            <ac:spMkLst>
              <pc:docMk/>
              <pc:sldMasterMk cId="2655679949" sldId="2147483736"/>
              <pc:sldLayoutMk cId="2370746265" sldId="2147483737"/>
              <ac:spMk id="153" creationId="{B72A9634-9F0D-4511-CC24-668FF1DAE504}"/>
            </ac:spMkLst>
          </pc:spChg>
          <pc:spChg chg="add mod ord">
            <ac:chgData name="Trauer" userId="aa8b9dc3-a64d-4cc6-bd4f-f46eb5f096c9" providerId="ADAL" clId="{5B76CEF1-A6E3-49E3-8F70-F81E9495ECB4}" dt="2023-08-14T15:05:14.134" v="2292" actId="167"/>
            <ac:spMkLst>
              <pc:docMk/>
              <pc:sldMasterMk cId="2655679949" sldId="2147483736"/>
              <pc:sldLayoutMk cId="2370746265" sldId="2147483737"/>
              <ac:spMk id="154" creationId="{B63598A8-B973-502A-5F68-CE31D4A57331}"/>
            </ac:spMkLst>
          </pc:spChg>
          <pc:spChg chg="add del mod ord">
            <ac:chgData name="Trauer" userId="aa8b9dc3-a64d-4cc6-bd4f-f46eb5f096c9" providerId="ADAL" clId="{5B76CEF1-A6E3-49E3-8F70-F81E9495ECB4}" dt="2023-08-14T16:19:22.865" v="3178" actId="21"/>
            <ac:spMkLst>
              <pc:docMk/>
              <pc:sldMasterMk cId="2655679949" sldId="2147483736"/>
              <pc:sldLayoutMk cId="2370746265" sldId="2147483737"/>
              <ac:spMk id="155" creationId="{8D0BB575-1C8C-0C44-56CA-39A5CAB16DB9}"/>
            </ac:spMkLst>
          </pc:spChg>
          <pc:spChg chg="add mod">
            <ac:chgData name="Trauer" userId="aa8b9dc3-a64d-4cc6-bd4f-f46eb5f096c9" providerId="ADAL" clId="{5B76CEF1-A6E3-49E3-8F70-F81E9495ECB4}" dt="2023-08-14T15:07:09.303" v="2318"/>
            <ac:spMkLst>
              <pc:docMk/>
              <pc:sldMasterMk cId="2655679949" sldId="2147483736"/>
              <pc:sldLayoutMk cId="2370746265" sldId="2147483737"/>
              <ac:spMk id="156" creationId="{71E222B5-1D24-85BC-AB1B-370CA2BC948E}"/>
            </ac:spMkLst>
          </pc:spChg>
          <pc:spChg chg="add mod">
            <ac:chgData name="Trauer" userId="aa8b9dc3-a64d-4cc6-bd4f-f46eb5f096c9" providerId="ADAL" clId="{5B76CEF1-A6E3-49E3-8F70-F81E9495ECB4}" dt="2023-08-14T15:07:09.303" v="2318"/>
            <ac:spMkLst>
              <pc:docMk/>
              <pc:sldMasterMk cId="2655679949" sldId="2147483736"/>
              <pc:sldLayoutMk cId="2370746265" sldId="2147483737"/>
              <ac:spMk id="157" creationId="{AF2B62C4-C39B-EBAF-1D68-9AFC50E3EB48}"/>
            </ac:spMkLst>
          </pc:spChg>
          <pc:spChg chg="add mod">
            <ac:chgData name="Trauer" userId="aa8b9dc3-a64d-4cc6-bd4f-f46eb5f096c9" providerId="ADAL" clId="{5B76CEF1-A6E3-49E3-8F70-F81E9495ECB4}" dt="2023-08-14T15:07:09.303" v="2318"/>
            <ac:spMkLst>
              <pc:docMk/>
              <pc:sldMasterMk cId="2655679949" sldId="2147483736"/>
              <pc:sldLayoutMk cId="2370746265" sldId="2147483737"/>
              <ac:spMk id="158" creationId="{8A32CB5C-7866-92B7-48E3-0609CE90CD75}"/>
            </ac:spMkLst>
          </pc:spChg>
          <pc:spChg chg="add mod">
            <ac:chgData name="Trauer" userId="aa8b9dc3-a64d-4cc6-bd4f-f46eb5f096c9" providerId="ADAL" clId="{5B76CEF1-A6E3-49E3-8F70-F81E9495ECB4}" dt="2023-08-14T15:24:15.135" v="2572" actId="20577"/>
            <ac:spMkLst>
              <pc:docMk/>
              <pc:sldMasterMk cId="2655679949" sldId="2147483736"/>
              <pc:sldLayoutMk cId="2370746265" sldId="2147483737"/>
              <ac:spMk id="159" creationId="{F37AB438-DF21-4249-2FE5-5658081C143E}"/>
            </ac:spMkLst>
          </pc:spChg>
          <pc:grpChg chg="del">
            <ac:chgData name="Trauer" userId="aa8b9dc3-a64d-4cc6-bd4f-f46eb5f096c9" providerId="ADAL" clId="{5B76CEF1-A6E3-49E3-8F70-F81E9495ECB4}" dt="2023-08-14T10:15:23.558" v="401" actId="478"/>
            <ac:grpSpMkLst>
              <pc:docMk/>
              <pc:sldMasterMk cId="2655679949" sldId="2147483736"/>
              <pc:sldLayoutMk cId="2370746265" sldId="2147483737"/>
              <ac:grpSpMk id="90" creationId="{5856DBBB-692A-C3C2-1EAE-B6D1E13FE78E}"/>
            </ac:grpSpMkLst>
          </pc:grpChg>
          <pc:grpChg chg="del">
            <ac:chgData name="Trauer" userId="aa8b9dc3-a64d-4cc6-bd4f-f46eb5f096c9" providerId="ADAL" clId="{5B76CEF1-A6E3-49E3-8F70-F81E9495ECB4}" dt="2023-08-14T10:15:20.202" v="397" actId="478"/>
            <ac:grpSpMkLst>
              <pc:docMk/>
              <pc:sldMasterMk cId="2655679949" sldId="2147483736"/>
              <pc:sldLayoutMk cId="2370746265" sldId="2147483737"/>
              <ac:grpSpMk id="96" creationId="{BA763EDB-1ADD-23A9-90B4-235C26B9FBAA}"/>
            </ac:grpSpMkLst>
          </pc:grpChg>
          <pc:grpChg chg="del">
            <ac:chgData name="Trauer" userId="aa8b9dc3-a64d-4cc6-bd4f-f46eb5f096c9" providerId="ADAL" clId="{5B76CEF1-A6E3-49E3-8F70-F81E9495ECB4}" dt="2023-08-14T10:15:22.238" v="400" actId="478"/>
            <ac:grpSpMkLst>
              <pc:docMk/>
              <pc:sldMasterMk cId="2655679949" sldId="2147483736"/>
              <pc:sldLayoutMk cId="2370746265" sldId="2147483737"/>
              <ac:grpSpMk id="102" creationId="{86FDEF20-1226-79F8-FB42-BDEEF9202802}"/>
            </ac:grpSpMkLst>
          </pc:grpChg>
          <pc:grpChg chg="del">
            <ac:chgData name="Trauer" userId="aa8b9dc3-a64d-4cc6-bd4f-f46eb5f096c9" providerId="ADAL" clId="{5B76CEF1-A6E3-49E3-8F70-F81E9495ECB4}" dt="2023-08-14T10:15:17.605" v="395" actId="478"/>
            <ac:grpSpMkLst>
              <pc:docMk/>
              <pc:sldMasterMk cId="2655679949" sldId="2147483736"/>
              <pc:sldLayoutMk cId="2370746265" sldId="2147483737"/>
              <ac:grpSpMk id="110" creationId="{5AE9675B-7B7C-3BF5-A1A8-2EEA415B2A96}"/>
            </ac:grpSpMkLst>
          </pc:grpChg>
          <pc:grpChg chg="del">
            <ac:chgData name="Trauer" userId="aa8b9dc3-a64d-4cc6-bd4f-f46eb5f096c9" providerId="ADAL" clId="{5B76CEF1-A6E3-49E3-8F70-F81E9495ECB4}" dt="2023-08-14T10:15:15.664" v="394" actId="478"/>
            <ac:grpSpMkLst>
              <pc:docMk/>
              <pc:sldMasterMk cId="2655679949" sldId="2147483736"/>
              <pc:sldLayoutMk cId="2370746265" sldId="2147483737"/>
              <ac:grpSpMk id="116" creationId="{8C3EFB7D-C04F-91A2-F525-5102F161F9A0}"/>
            </ac:grpSpMkLst>
          </pc:grpChg>
          <pc:grpChg chg="del">
            <ac:chgData name="Trauer" userId="aa8b9dc3-a64d-4cc6-bd4f-f46eb5f096c9" providerId="ADAL" clId="{5B76CEF1-A6E3-49E3-8F70-F81E9495ECB4}" dt="2023-08-14T10:15:08.358" v="390" actId="478"/>
            <ac:grpSpMkLst>
              <pc:docMk/>
              <pc:sldMasterMk cId="2655679949" sldId="2147483736"/>
              <pc:sldLayoutMk cId="2370746265" sldId="2147483737"/>
              <ac:grpSpMk id="122" creationId="{BC784EE2-C105-E532-70DF-2EF7EE69EB4E}"/>
            </ac:grpSpMkLst>
          </pc:grpChg>
          <pc:picChg chg="mod">
            <ac:chgData name="Trauer" userId="aa8b9dc3-a64d-4cc6-bd4f-f46eb5f096c9" providerId="ADAL" clId="{5B76CEF1-A6E3-49E3-8F70-F81E9495ECB4}" dt="2023-08-14T10:17:32.841" v="466" actId="1036"/>
            <ac:picMkLst>
              <pc:docMk/>
              <pc:sldMasterMk cId="2655679949" sldId="2147483736"/>
              <pc:sldLayoutMk cId="2370746265" sldId="2147483737"/>
              <ac:picMk id="81" creationId="{5DCA15E4-2034-4EDB-48B3-82663DCEEC55}"/>
            </ac:picMkLst>
          </pc:picChg>
          <pc:picChg chg="mod">
            <ac:chgData name="Trauer" userId="aa8b9dc3-a64d-4cc6-bd4f-f46eb5f096c9" providerId="ADAL" clId="{5B76CEF1-A6E3-49E3-8F70-F81E9495ECB4}" dt="2023-08-14T10:17:32.841" v="466" actId="1036"/>
            <ac:picMkLst>
              <pc:docMk/>
              <pc:sldMasterMk cId="2655679949" sldId="2147483736"/>
              <pc:sldLayoutMk cId="2370746265" sldId="2147483737"/>
              <ac:picMk id="82" creationId="{8EC9FA75-C12D-3329-7307-3F7216FDAC34}"/>
            </ac:picMkLst>
          </pc:picChg>
          <pc:picChg chg="mod">
            <ac:chgData name="Trauer" userId="aa8b9dc3-a64d-4cc6-bd4f-f46eb5f096c9" providerId="ADAL" clId="{5B76CEF1-A6E3-49E3-8F70-F81E9495ECB4}" dt="2023-08-14T10:17:32.841" v="466" actId="1036"/>
            <ac:picMkLst>
              <pc:docMk/>
              <pc:sldMasterMk cId="2655679949" sldId="2147483736"/>
              <pc:sldLayoutMk cId="2370746265" sldId="2147483737"/>
              <ac:picMk id="83" creationId="{6129144C-E767-F0AE-6959-1BCE8D58A59B}"/>
            </ac:picMkLst>
          </pc:picChg>
          <pc:picChg chg="mod">
            <ac:chgData name="Trauer" userId="aa8b9dc3-a64d-4cc6-bd4f-f46eb5f096c9" providerId="ADAL" clId="{5B76CEF1-A6E3-49E3-8F70-F81E9495ECB4}" dt="2023-08-14T10:06:36.658" v="96" actId="1037"/>
            <ac:picMkLst>
              <pc:docMk/>
              <pc:sldMasterMk cId="2655679949" sldId="2147483736"/>
              <pc:sldLayoutMk cId="2370746265" sldId="2147483737"/>
              <ac:picMk id="85" creationId="{E833394F-FF7E-F1F6-E186-BE583BEE50D4}"/>
            </ac:picMkLst>
          </pc:picChg>
          <pc:picChg chg="mod">
            <ac:chgData name="Trauer" userId="aa8b9dc3-a64d-4cc6-bd4f-f46eb5f096c9" providerId="ADAL" clId="{5B76CEF1-A6E3-49E3-8F70-F81E9495ECB4}" dt="2023-08-14T10:06:59.292" v="117" actId="1038"/>
            <ac:picMkLst>
              <pc:docMk/>
              <pc:sldMasterMk cId="2655679949" sldId="2147483736"/>
              <pc:sldLayoutMk cId="2370746265" sldId="2147483737"/>
              <ac:picMk id="87" creationId="{2C16A36B-537A-D6ED-1B9A-3FFA6C193028}"/>
            </ac:picMkLst>
          </pc:picChg>
          <pc:picChg chg="mod">
            <ac:chgData name="Trauer" userId="aa8b9dc3-a64d-4cc6-bd4f-f46eb5f096c9" providerId="ADAL" clId="{5B76CEF1-A6E3-49E3-8F70-F81E9495ECB4}" dt="2023-08-14T10:06:50.308" v="104"/>
            <ac:picMkLst>
              <pc:docMk/>
              <pc:sldMasterMk cId="2655679949" sldId="2147483736"/>
              <pc:sldLayoutMk cId="2370746265" sldId="2147483737"/>
              <ac:picMk id="89" creationId="{760B767B-6006-4547-FA98-16CC1200D06F}"/>
            </ac:picMkLst>
          </pc:picChg>
        </pc:sldLayoutChg>
        <pc:sldLayoutChg chg="addSp delSp modSp add del mod">
          <pc:chgData name="Trauer" userId="aa8b9dc3-a64d-4cc6-bd4f-f46eb5f096c9" providerId="ADAL" clId="{5B76CEF1-A6E3-49E3-8F70-F81E9495ECB4}" dt="2023-08-14T16:59:27.699" v="3399" actId="478"/>
          <pc:sldLayoutMkLst>
            <pc:docMk/>
            <pc:sldMasterMk cId="2655679949" sldId="2147483736"/>
            <pc:sldLayoutMk cId="4151086005" sldId="2147483738"/>
          </pc:sldLayoutMkLst>
          <pc:spChg chg="mod">
            <ac:chgData name="Trauer" userId="aa8b9dc3-a64d-4cc6-bd4f-f46eb5f096c9" providerId="ADAL" clId="{5B76CEF1-A6E3-49E3-8F70-F81E9495ECB4}" dt="2023-08-14T16:06:44.507" v="2723" actId="207"/>
            <ac:spMkLst>
              <pc:docMk/>
              <pc:sldMasterMk cId="2655679949" sldId="2147483736"/>
              <pc:sldLayoutMk cId="4151086005" sldId="2147483738"/>
              <ac:spMk id="2" creationId="{83E4DCBF-C8BE-39FC-0809-01F1CB8E1707}"/>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12" creationId="{97118875-C7F8-69C6-D4FA-65B83AA77DBE}"/>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13" creationId="{35550152-DECD-37EB-1F10-23EB75B7E3B7}"/>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14" creationId="{58FD6D0D-1387-E3C4-9C96-2EC3BA1CD4D9}"/>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15" creationId="{83493885-61E8-6F9F-C37D-DF18FC0AC885}"/>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16" creationId="{E670A34D-2241-1C03-3B49-12A0FBB84016}"/>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67" creationId="{927D62A4-500B-87B5-D61F-265C563BC9B3}"/>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68" creationId="{92D91F2B-14FF-90BF-4F53-6A0A1EB8DE55}"/>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69" creationId="{7DD1A0F4-D4AF-9D03-E7A0-0CE2DB25F14B}"/>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70" creationId="{A22B1B0C-07D7-E9A4-E011-E5D37756CE42}"/>
            </ac:spMkLst>
          </pc:spChg>
          <pc:spChg chg="add del mod">
            <ac:chgData name="Trauer" userId="aa8b9dc3-a64d-4cc6-bd4f-f46eb5f096c9" providerId="ADAL" clId="{5B76CEF1-A6E3-49E3-8F70-F81E9495ECB4}" dt="2023-08-14T15:01:45.374" v="2218" actId="478"/>
            <ac:spMkLst>
              <pc:docMk/>
              <pc:sldMasterMk cId="2655679949" sldId="2147483736"/>
              <pc:sldLayoutMk cId="4151086005" sldId="2147483738"/>
              <ac:spMk id="71" creationId="{7B2BAF6B-A3A8-06DE-7631-D0377416D110}"/>
            </ac:spMkLst>
          </pc:spChg>
          <pc:spChg chg="add del mod ord">
            <ac:chgData name="Trauer" userId="aa8b9dc3-a64d-4cc6-bd4f-f46eb5f096c9" providerId="ADAL" clId="{5B76CEF1-A6E3-49E3-8F70-F81E9495ECB4}" dt="2023-08-14T16:59:27.699" v="3399" actId="478"/>
            <ac:spMkLst>
              <pc:docMk/>
              <pc:sldMasterMk cId="2655679949" sldId="2147483736"/>
              <pc:sldLayoutMk cId="4151086005" sldId="2147483738"/>
              <ac:spMk id="72" creationId="{775DFFC3-571A-FF64-3205-91AF5F6795F2}"/>
            </ac:spMkLst>
          </pc:spChg>
          <pc:spChg chg="add mod ord">
            <ac:chgData name="Trauer" userId="aa8b9dc3-a64d-4cc6-bd4f-f46eb5f096c9" providerId="ADAL" clId="{5B76CEF1-A6E3-49E3-8F70-F81E9495ECB4}" dt="2023-08-14T16:02:24.617" v="2659" actId="1076"/>
            <ac:spMkLst>
              <pc:docMk/>
              <pc:sldMasterMk cId="2655679949" sldId="2147483736"/>
              <pc:sldLayoutMk cId="4151086005" sldId="2147483738"/>
              <ac:spMk id="73" creationId="{090E5FC1-601F-2661-011B-519CBB6C7657}"/>
            </ac:spMkLst>
          </pc:spChg>
          <pc:spChg chg="add mod">
            <ac:chgData name="Trauer" userId="aa8b9dc3-a64d-4cc6-bd4f-f46eb5f096c9" providerId="ADAL" clId="{5B76CEF1-A6E3-49E3-8F70-F81E9495ECB4}" dt="2023-08-14T15:07:12.618" v="2319"/>
            <ac:spMkLst>
              <pc:docMk/>
              <pc:sldMasterMk cId="2655679949" sldId="2147483736"/>
              <pc:sldLayoutMk cId="4151086005" sldId="2147483738"/>
              <ac:spMk id="74" creationId="{F69C9431-72B9-FE81-49F4-9C586DB448CB}"/>
            </ac:spMkLst>
          </pc:spChg>
          <pc:spChg chg="add mod">
            <ac:chgData name="Trauer" userId="aa8b9dc3-a64d-4cc6-bd4f-f46eb5f096c9" providerId="ADAL" clId="{5B76CEF1-A6E3-49E3-8F70-F81E9495ECB4}" dt="2023-08-14T15:07:12.618" v="2319"/>
            <ac:spMkLst>
              <pc:docMk/>
              <pc:sldMasterMk cId="2655679949" sldId="2147483736"/>
              <pc:sldLayoutMk cId="4151086005" sldId="2147483738"/>
              <ac:spMk id="75" creationId="{35456B92-6F8F-DF11-3776-74806D62CF84}"/>
            </ac:spMkLst>
          </pc:spChg>
          <pc:spChg chg="add mod">
            <ac:chgData name="Trauer" userId="aa8b9dc3-a64d-4cc6-bd4f-f46eb5f096c9" providerId="ADAL" clId="{5B76CEF1-A6E3-49E3-8F70-F81E9495ECB4}" dt="2023-08-14T15:07:12.618" v="2319"/>
            <ac:spMkLst>
              <pc:docMk/>
              <pc:sldMasterMk cId="2655679949" sldId="2147483736"/>
              <pc:sldLayoutMk cId="4151086005" sldId="2147483738"/>
              <ac:spMk id="76" creationId="{5D87B7F6-D85C-9086-A689-2D91FFF09E37}"/>
            </ac:spMkLst>
          </pc:spChg>
          <pc:spChg chg="add del mod">
            <ac:chgData name="Trauer" userId="aa8b9dc3-a64d-4cc6-bd4f-f46eb5f096c9" providerId="ADAL" clId="{5B76CEF1-A6E3-49E3-8F70-F81E9495ECB4}" dt="2023-08-14T15:24:22.089" v="2573" actId="478"/>
            <ac:spMkLst>
              <pc:docMk/>
              <pc:sldMasterMk cId="2655679949" sldId="2147483736"/>
              <pc:sldLayoutMk cId="4151086005" sldId="2147483738"/>
              <ac:spMk id="77" creationId="{B2419439-0FD7-D3D6-C925-A09B7C4ADD8D}"/>
            </ac:spMkLst>
          </pc:spChg>
          <pc:spChg chg="add mod">
            <ac:chgData name="Trauer" userId="aa8b9dc3-a64d-4cc6-bd4f-f46eb5f096c9" providerId="ADAL" clId="{5B76CEF1-A6E3-49E3-8F70-F81E9495ECB4}" dt="2023-08-14T15:24:22.823" v="2574"/>
            <ac:spMkLst>
              <pc:docMk/>
              <pc:sldMasterMk cId="2655679949" sldId="2147483736"/>
              <pc:sldLayoutMk cId="4151086005" sldId="2147483738"/>
              <ac:spMk id="78" creationId="{F61C4C8F-5A51-8398-504B-B57B89E688F0}"/>
            </ac:spMkLst>
          </pc:spChg>
        </pc:sldLayoutChg>
        <pc:sldLayoutChg chg="addSp delSp modSp add del mod">
          <pc:chgData name="Trauer" userId="aa8b9dc3-a64d-4cc6-bd4f-f46eb5f096c9" providerId="ADAL" clId="{5B76CEF1-A6E3-49E3-8F70-F81E9495ECB4}" dt="2023-08-14T16:59:24.946" v="3398" actId="478"/>
          <pc:sldLayoutMkLst>
            <pc:docMk/>
            <pc:sldMasterMk cId="2655679949" sldId="2147483736"/>
            <pc:sldLayoutMk cId="514577235" sldId="2147483739"/>
          </pc:sldLayoutMkLst>
          <pc:spChg chg="mod">
            <ac:chgData name="Trauer" userId="aa8b9dc3-a64d-4cc6-bd4f-f46eb5f096c9" providerId="ADAL" clId="{5B76CEF1-A6E3-49E3-8F70-F81E9495ECB4}" dt="2023-08-14T16:06:48.665" v="2724" actId="207"/>
            <ac:spMkLst>
              <pc:docMk/>
              <pc:sldMasterMk cId="2655679949" sldId="2147483736"/>
              <pc:sldLayoutMk cId="514577235" sldId="2147483739"/>
              <ac:spMk id="2" creationId="{327F74CA-3A14-0BEE-3A0D-257D5B12E97F}"/>
            </ac:spMkLst>
          </pc:spChg>
          <pc:spChg chg="add mod">
            <ac:chgData name="Trauer" userId="aa8b9dc3-a64d-4cc6-bd4f-f46eb5f096c9" providerId="ADAL" clId="{5B76CEF1-A6E3-49E3-8F70-F81E9495ECB4}" dt="2023-08-14T10:00:47.284" v="1"/>
            <ac:spMkLst>
              <pc:docMk/>
              <pc:sldMasterMk cId="2655679949" sldId="2147483736"/>
              <pc:sldLayoutMk cId="514577235" sldId="2147483739"/>
              <ac:spMk id="10" creationId="{95B2D7B3-A8E6-3F55-F7B7-EB2BCC666200}"/>
            </ac:spMkLst>
          </pc:spChg>
          <pc:spChg chg="add del mod ord">
            <ac:chgData name="Trauer" userId="aa8b9dc3-a64d-4cc6-bd4f-f46eb5f096c9" providerId="ADAL" clId="{5B76CEF1-A6E3-49E3-8F70-F81E9495ECB4}" dt="2023-08-14T16:59:24.946" v="3398" actId="478"/>
            <ac:spMkLst>
              <pc:docMk/>
              <pc:sldMasterMk cId="2655679949" sldId="2147483736"/>
              <pc:sldLayoutMk cId="514577235" sldId="2147483739"/>
              <ac:spMk id="11" creationId="{7BFC6CFB-281D-13CD-BE8C-357B95E37800}"/>
            </ac:spMkLst>
          </pc:spChg>
          <pc:spChg chg="add mod ord">
            <ac:chgData name="Trauer" userId="aa8b9dc3-a64d-4cc6-bd4f-f46eb5f096c9" providerId="ADAL" clId="{5B76CEF1-A6E3-49E3-8F70-F81E9495ECB4}" dt="2023-08-14T15:05:50.310" v="2299" actId="167"/>
            <ac:spMkLst>
              <pc:docMk/>
              <pc:sldMasterMk cId="2655679949" sldId="2147483736"/>
              <pc:sldLayoutMk cId="514577235" sldId="2147483739"/>
              <ac:spMk id="12" creationId="{6E9E8DC7-EC2B-2A1F-4EFC-05F51F84EB93}"/>
            </ac:spMkLst>
          </pc:spChg>
          <pc:spChg chg="add mod">
            <ac:chgData name="Trauer" userId="aa8b9dc3-a64d-4cc6-bd4f-f46eb5f096c9" providerId="ADAL" clId="{5B76CEF1-A6E3-49E3-8F70-F81E9495ECB4}" dt="2023-08-14T15:07:15.791" v="2320"/>
            <ac:spMkLst>
              <pc:docMk/>
              <pc:sldMasterMk cId="2655679949" sldId="2147483736"/>
              <pc:sldLayoutMk cId="514577235" sldId="2147483739"/>
              <ac:spMk id="13" creationId="{4514C1A1-EE04-AEFD-B058-FB8A3F9C9633}"/>
            </ac:spMkLst>
          </pc:spChg>
          <pc:spChg chg="add mod">
            <ac:chgData name="Trauer" userId="aa8b9dc3-a64d-4cc6-bd4f-f46eb5f096c9" providerId="ADAL" clId="{5B76CEF1-A6E3-49E3-8F70-F81E9495ECB4}" dt="2023-08-14T15:07:15.791" v="2320"/>
            <ac:spMkLst>
              <pc:docMk/>
              <pc:sldMasterMk cId="2655679949" sldId="2147483736"/>
              <pc:sldLayoutMk cId="514577235" sldId="2147483739"/>
              <ac:spMk id="14" creationId="{A4EB1B9C-8BED-9963-B059-FA5D3AEC5A88}"/>
            </ac:spMkLst>
          </pc:spChg>
          <pc:spChg chg="add mod">
            <ac:chgData name="Trauer" userId="aa8b9dc3-a64d-4cc6-bd4f-f46eb5f096c9" providerId="ADAL" clId="{5B76CEF1-A6E3-49E3-8F70-F81E9495ECB4}" dt="2023-08-14T15:07:15.791" v="2320"/>
            <ac:spMkLst>
              <pc:docMk/>
              <pc:sldMasterMk cId="2655679949" sldId="2147483736"/>
              <pc:sldLayoutMk cId="514577235" sldId="2147483739"/>
              <ac:spMk id="15" creationId="{BE31217C-66CD-551A-4564-8391CC86F0DA}"/>
            </ac:spMkLst>
          </pc:spChg>
          <pc:spChg chg="add del mod">
            <ac:chgData name="Trauer" userId="aa8b9dc3-a64d-4cc6-bd4f-f46eb5f096c9" providerId="ADAL" clId="{5B76CEF1-A6E3-49E3-8F70-F81E9495ECB4}" dt="2023-08-14T15:24:24.768" v="2575" actId="478"/>
            <ac:spMkLst>
              <pc:docMk/>
              <pc:sldMasterMk cId="2655679949" sldId="2147483736"/>
              <pc:sldLayoutMk cId="514577235" sldId="2147483739"/>
              <ac:spMk id="16" creationId="{528AFCFA-8490-F5ED-BADB-80E1A54006F8}"/>
            </ac:spMkLst>
          </pc:spChg>
          <pc:spChg chg="add mod">
            <ac:chgData name="Trauer" userId="aa8b9dc3-a64d-4cc6-bd4f-f46eb5f096c9" providerId="ADAL" clId="{5B76CEF1-A6E3-49E3-8F70-F81E9495ECB4}" dt="2023-08-14T15:24:25.211" v="2576"/>
            <ac:spMkLst>
              <pc:docMk/>
              <pc:sldMasterMk cId="2655679949" sldId="2147483736"/>
              <pc:sldLayoutMk cId="514577235" sldId="2147483739"/>
              <ac:spMk id="17" creationId="{C624877E-7B40-AC4F-684A-C3A14C2F4818}"/>
            </ac:spMkLst>
          </pc:spChg>
          <pc:picChg chg="del">
            <ac:chgData name="Trauer" userId="aa8b9dc3-a64d-4cc6-bd4f-f46eb5f096c9" providerId="ADAL" clId="{5B76CEF1-A6E3-49E3-8F70-F81E9495ECB4}" dt="2023-08-14T10:00:40.643" v="0" actId="478"/>
            <ac:picMkLst>
              <pc:docMk/>
              <pc:sldMasterMk cId="2655679949" sldId="2147483736"/>
              <pc:sldLayoutMk cId="514577235" sldId="2147483739"/>
              <ac:picMk id="4" creationId="{DABD63EF-7F84-4272-3684-CCCD66066005}"/>
            </ac:picMkLst>
          </pc:picChg>
          <pc:picChg chg="del">
            <ac:chgData name="Trauer" userId="aa8b9dc3-a64d-4cc6-bd4f-f46eb5f096c9" providerId="ADAL" clId="{5B76CEF1-A6E3-49E3-8F70-F81E9495ECB4}" dt="2023-08-14T10:00:40.643" v="0" actId="478"/>
            <ac:picMkLst>
              <pc:docMk/>
              <pc:sldMasterMk cId="2655679949" sldId="2147483736"/>
              <pc:sldLayoutMk cId="514577235" sldId="2147483739"/>
              <ac:picMk id="5" creationId="{230FB8B8-21B3-52A9-4F5A-164F504A5422}"/>
            </ac:picMkLst>
          </pc:picChg>
          <pc:picChg chg="del">
            <ac:chgData name="Trauer" userId="aa8b9dc3-a64d-4cc6-bd4f-f46eb5f096c9" providerId="ADAL" clId="{5B76CEF1-A6E3-49E3-8F70-F81E9495ECB4}" dt="2023-08-14T10:00:40.643" v="0" actId="478"/>
            <ac:picMkLst>
              <pc:docMk/>
              <pc:sldMasterMk cId="2655679949" sldId="2147483736"/>
              <pc:sldLayoutMk cId="514577235" sldId="2147483739"/>
              <ac:picMk id="6" creationId="{C244BE55-4ACA-6100-8D80-A31213A148C2}"/>
            </ac:picMkLst>
          </pc:picChg>
          <pc:picChg chg="del">
            <ac:chgData name="Trauer" userId="aa8b9dc3-a64d-4cc6-bd4f-f46eb5f096c9" providerId="ADAL" clId="{5B76CEF1-A6E3-49E3-8F70-F81E9495ECB4}" dt="2023-08-14T10:00:40.643" v="0" actId="478"/>
            <ac:picMkLst>
              <pc:docMk/>
              <pc:sldMasterMk cId="2655679949" sldId="2147483736"/>
              <pc:sldLayoutMk cId="514577235" sldId="2147483739"/>
              <ac:picMk id="7" creationId="{DA15F40C-67C4-6BE7-2440-54C22529912C}"/>
            </ac:picMkLst>
          </pc:picChg>
          <pc:picChg chg="del">
            <ac:chgData name="Trauer" userId="aa8b9dc3-a64d-4cc6-bd4f-f46eb5f096c9" providerId="ADAL" clId="{5B76CEF1-A6E3-49E3-8F70-F81E9495ECB4}" dt="2023-08-14T10:00:40.643" v="0" actId="478"/>
            <ac:picMkLst>
              <pc:docMk/>
              <pc:sldMasterMk cId="2655679949" sldId="2147483736"/>
              <pc:sldLayoutMk cId="514577235" sldId="2147483739"/>
              <ac:picMk id="8" creationId="{F0B97BB4-4521-BD87-42FA-0EA0BFC7C7CD}"/>
            </ac:picMkLst>
          </pc:picChg>
        </pc:sldLayoutChg>
        <pc:sldLayoutChg chg="addSp delSp modSp del mod">
          <pc:chgData name="Trauer" userId="aa8b9dc3-a64d-4cc6-bd4f-f46eb5f096c9" providerId="ADAL" clId="{5B76CEF1-A6E3-49E3-8F70-F81E9495ECB4}" dt="2023-08-14T14:39:41.427" v="2030" actId="2696"/>
          <pc:sldLayoutMkLst>
            <pc:docMk/>
            <pc:sldMasterMk cId="2655679949" sldId="2147483736"/>
            <pc:sldLayoutMk cId="2352609281" sldId="2147483740"/>
          </pc:sldLayoutMkLst>
          <pc:spChg chg="add del mod">
            <ac:chgData name="Trauer" userId="aa8b9dc3-a64d-4cc6-bd4f-f46eb5f096c9" providerId="ADAL" clId="{5B76CEF1-A6E3-49E3-8F70-F81E9495ECB4}" dt="2023-08-14T10:00:52.362" v="3"/>
            <ac:spMkLst>
              <pc:docMk/>
              <pc:sldMasterMk cId="2655679949" sldId="2147483736"/>
              <pc:sldLayoutMk cId="2352609281" sldId="2147483740"/>
              <ac:spMk id="10" creationId="{9196830C-419E-F463-69BC-C88A2F5006B0}"/>
            </ac:spMkLst>
          </pc:spChg>
          <pc:spChg chg="add mod ord">
            <ac:chgData name="Trauer" userId="aa8b9dc3-a64d-4cc6-bd4f-f46eb5f096c9" providerId="ADAL" clId="{5B76CEF1-A6E3-49E3-8F70-F81E9495ECB4}" dt="2023-08-14T10:01:20.334" v="8" actId="167"/>
            <ac:spMkLst>
              <pc:docMk/>
              <pc:sldMasterMk cId="2655679949" sldId="2147483736"/>
              <pc:sldLayoutMk cId="2352609281" sldId="2147483740"/>
              <ac:spMk id="11" creationId="{B44D8178-4749-33DD-220B-9505B9FFCE71}"/>
            </ac:spMkLst>
          </pc:spChg>
          <pc:picChg chg="del">
            <ac:chgData name="Trauer" userId="aa8b9dc3-a64d-4cc6-bd4f-f46eb5f096c9" providerId="ADAL" clId="{5B76CEF1-A6E3-49E3-8F70-F81E9495ECB4}" dt="2023-08-14T10:00:55.086" v="4" actId="478"/>
            <ac:picMkLst>
              <pc:docMk/>
              <pc:sldMasterMk cId="2655679949" sldId="2147483736"/>
              <pc:sldLayoutMk cId="2352609281" sldId="2147483740"/>
              <ac:picMk id="4" creationId="{8B7F287D-74AB-6E52-6F40-B55CAF99054D}"/>
            </ac:picMkLst>
          </pc:picChg>
          <pc:picChg chg="del">
            <ac:chgData name="Trauer" userId="aa8b9dc3-a64d-4cc6-bd4f-f46eb5f096c9" providerId="ADAL" clId="{5B76CEF1-A6E3-49E3-8F70-F81E9495ECB4}" dt="2023-08-14T10:00:55.086" v="4" actId="478"/>
            <ac:picMkLst>
              <pc:docMk/>
              <pc:sldMasterMk cId="2655679949" sldId="2147483736"/>
              <pc:sldLayoutMk cId="2352609281" sldId="2147483740"/>
              <ac:picMk id="5" creationId="{8C0B11B3-3E80-C7DC-3F39-1C1D9CCA1BEB}"/>
            </ac:picMkLst>
          </pc:picChg>
          <pc:picChg chg="del">
            <ac:chgData name="Trauer" userId="aa8b9dc3-a64d-4cc6-bd4f-f46eb5f096c9" providerId="ADAL" clId="{5B76CEF1-A6E3-49E3-8F70-F81E9495ECB4}" dt="2023-08-14T10:00:55.086" v="4" actId="478"/>
            <ac:picMkLst>
              <pc:docMk/>
              <pc:sldMasterMk cId="2655679949" sldId="2147483736"/>
              <pc:sldLayoutMk cId="2352609281" sldId="2147483740"/>
              <ac:picMk id="6" creationId="{A8F1D9F7-9467-1820-F622-30B9EC16E2C6}"/>
            </ac:picMkLst>
          </pc:picChg>
          <pc:picChg chg="del">
            <ac:chgData name="Trauer" userId="aa8b9dc3-a64d-4cc6-bd4f-f46eb5f096c9" providerId="ADAL" clId="{5B76CEF1-A6E3-49E3-8F70-F81E9495ECB4}" dt="2023-08-14T10:00:55.086" v="4" actId="478"/>
            <ac:picMkLst>
              <pc:docMk/>
              <pc:sldMasterMk cId="2655679949" sldId="2147483736"/>
              <pc:sldLayoutMk cId="2352609281" sldId="2147483740"/>
              <ac:picMk id="7" creationId="{CCD5F866-8179-6B37-D6F0-150E3711B082}"/>
            </ac:picMkLst>
          </pc:picChg>
          <pc:picChg chg="del">
            <ac:chgData name="Trauer" userId="aa8b9dc3-a64d-4cc6-bd4f-f46eb5f096c9" providerId="ADAL" clId="{5B76CEF1-A6E3-49E3-8F70-F81E9495ECB4}" dt="2023-08-14T10:00:55.086" v="4" actId="478"/>
            <ac:picMkLst>
              <pc:docMk/>
              <pc:sldMasterMk cId="2655679949" sldId="2147483736"/>
              <pc:sldLayoutMk cId="2352609281" sldId="2147483740"/>
              <ac:picMk id="8" creationId="{F40AE47B-6766-0E12-DD58-C72AA05E57AD}"/>
            </ac:picMkLst>
          </pc:picChg>
        </pc:sldLayoutChg>
        <pc:sldLayoutChg chg="addSp delSp modSp add del mod">
          <pc:chgData name="Trauer" userId="aa8b9dc3-a64d-4cc6-bd4f-f46eb5f096c9" providerId="ADAL" clId="{5B76CEF1-A6E3-49E3-8F70-F81E9495ECB4}" dt="2023-08-14T16:59:35.944" v="3400"/>
          <pc:sldLayoutMkLst>
            <pc:docMk/>
            <pc:sldMasterMk cId="2655679949" sldId="2147483736"/>
            <pc:sldLayoutMk cId="1109011820" sldId="2147483741"/>
          </pc:sldLayoutMkLst>
          <pc:spChg chg="add mod">
            <ac:chgData name="Trauer" userId="aa8b9dc3-a64d-4cc6-bd4f-f46eb5f096c9" providerId="ADAL" clId="{5B76CEF1-A6E3-49E3-8F70-F81E9495ECB4}" dt="2023-08-14T16:06:51.634" v="2725" actId="207"/>
            <ac:spMkLst>
              <pc:docMk/>
              <pc:sldMasterMk cId="2655679949" sldId="2147483736"/>
              <pc:sldLayoutMk cId="1109011820" sldId="2147483741"/>
              <ac:spMk id="2" creationId="{AAFFC50E-FD9F-59A8-ED49-F3003E680152}"/>
            </ac:spMkLst>
          </pc:spChg>
          <pc:spChg chg="del mod">
            <ac:chgData name="Trauer" userId="aa8b9dc3-a64d-4cc6-bd4f-f46eb5f096c9" providerId="ADAL" clId="{5B76CEF1-A6E3-49E3-8F70-F81E9495ECB4}" dt="2023-08-14T16:05:30.927" v="2713" actId="478"/>
            <ac:spMkLst>
              <pc:docMk/>
              <pc:sldMasterMk cId="2655679949" sldId="2147483736"/>
              <pc:sldLayoutMk cId="1109011820" sldId="2147483741"/>
              <ac:spMk id="3" creationId="{7E2725FB-B6A6-5D41-E1E1-E88FABDC569F}"/>
            </ac:spMkLst>
          </pc:spChg>
          <pc:spChg chg="add mod">
            <ac:chgData name="Trauer" userId="aa8b9dc3-a64d-4cc6-bd4f-f46eb5f096c9" providerId="ADAL" clId="{5B76CEF1-A6E3-49E3-8F70-F81E9495ECB4}" dt="2023-08-14T16:59:35.944" v="3400"/>
            <ac:spMkLst>
              <pc:docMk/>
              <pc:sldMasterMk cId="2655679949" sldId="2147483736"/>
              <pc:sldLayoutMk cId="1109011820" sldId="2147483741"/>
              <ac:spMk id="5" creationId="{70D9B5CB-78D5-925B-E842-FCC19BE5275D}"/>
            </ac:spMkLst>
          </pc:spChg>
          <pc:spChg chg="add del mod ord">
            <ac:chgData name="Trauer" userId="aa8b9dc3-a64d-4cc6-bd4f-f46eb5f096c9" providerId="ADAL" clId="{5B76CEF1-A6E3-49E3-8F70-F81E9495ECB4}" dt="2023-08-14T16:59:22.633" v="3397" actId="478"/>
            <ac:spMkLst>
              <pc:docMk/>
              <pc:sldMasterMk cId="2655679949" sldId="2147483736"/>
              <pc:sldLayoutMk cId="1109011820" sldId="2147483741"/>
              <ac:spMk id="10" creationId="{9F6FF458-38E1-A77C-B3AE-C2CC9F410B91}"/>
            </ac:spMkLst>
          </pc:spChg>
          <pc:spChg chg="add mod ord">
            <ac:chgData name="Trauer" userId="aa8b9dc3-a64d-4cc6-bd4f-f46eb5f096c9" providerId="ADAL" clId="{5B76CEF1-A6E3-49E3-8F70-F81E9495ECB4}" dt="2023-08-14T15:06:00.708" v="2303" actId="167"/>
            <ac:spMkLst>
              <pc:docMk/>
              <pc:sldMasterMk cId="2655679949" sldId="2147483736"/>
              <pc:sldLayoutMk cId="1109011820" sldId="2147483741"/>
              <ac:spMk id="11" creationId="{62A15F94-B42D-1EEB-35B0-454A596FC78B}"/>
            </ac:spMkLst>
          </pc:spChg>
          <pc:spChg chg="add del mod">
            <ac:chgData name="Trauer" userId="aa8b9dc3-a64d-4cc6-bd4f-f46eb5f096c9" providerId="ADAL" clId="{5B76CEF1-A6E3-49E3-8F70-F81E9495ECB4}" dt="2023-08-14T15:05:57.245" v="2302"/>
            <ac:spMkLst>
              <pc:docMk/>
              <pc:sldMasterMk cId="2655679949" sldId="2147483736"/>
              <pc:sldLayoutMk cId="1109011820" sldId="2147483741"/>
              <ac:spMk id="12" creationId="{C796EBB9-3DA7-3F57-5530-6D4B656D6173}"/>
            </ac:spMkLst>
          </pc:spChg>
          <pc:spChg chg="add del mod">
            <ac:chgData name="Trauer" userId="aa8b9dc3-a64d-4cc6-bd4f-f46eb5f096c9" providerId="ADAL" clId="{5B76CEF1-A6E3-49E3-8F70-F81E9495ECB4}" dt="2023-08-14T15:05:57.245" v="2302"/>
            <ac:spMkLst>
              <pc:docMk/>
              <pc:sldMasterMk cId="2655679949" sldId="2147483736"/>
              <pc:sldLayoutMk cId="1109011820" sldId="2147483741"/>
              <ac:spMk id="13" creationId="{CB8CE76E-9B0A-315D-408E-5322032396A6}"/>
            </ac:spMkLst>
          </pc:spChg>
          <pc:spChg chg="add mod">
            <ac:chgData name="Trauer" userId="aa8b9dc3-a64d-4cc6-bd4f-f46eb5f096c9" providerId="ADAL" clId="{5B76CEF1-A6E3-49E3-8F70-F81E9495ECB4}" dt="2023-08-14T15:07:18.372" v="2321"/>
            <ac:spMkLst>
              <pc:docMk/>
              <pc:sldMasterMk cId="2655679949" sldId="2147483736"/>
              <pc:sldLayoutMk cId="1109011820" sldId="2147483741"/>
              <ac:spMk id="14" creationId="{1078CAEF-1400-182A-333E-CD2FE817FB7A}"/>
            </ac:spMkLst>
          </pc:spChg>
          <pc:spChg chg="add mod">
            <ac:chgData name="Trauer" userId="aa8b9dc3-a64d-4cc6-bd4f-f46eb5f096c9" providerId="ADAL" clId="{5B76CEF1-A6E3-49E3-8F70-F81E9495ECB4}" dt="2023-08-14T15:07:18.372" v="2321"/>
            <ac:spMkLst>
              <pc:docMk/>
              <pc:sldMasterMk cId="2655679949" sldId="2147483736"/>
              <pc:sldLayoutMk cId="1109011820" sldId="2147483741"/>
              <ac:spMk id="15" creationId="{F316AF2F-EC5B-D6C8-643D-9F81D0CEC7A2}"/>
            </ac:spMkLst>
          </pc:spChg>
          <pc:spChg chg="add mod">
            <ac:chgData name="Trauer" userId="aa8b9dc3-a64d-4cc6-bd4f-f46eb5f096c9" providerId="ADAL" clId="{5B76CEF1-A6E3-49E3-8F70-F81E9495ECB4}" dt="2023-08-14T15:07:18.372" v="2321"/>
            <ac:spMkLst>
              <pc:docMk/>
              <pc:sldMasterMk cId="2655679949" sldId="2147483736"/>
              <pc:sldLayoutMk cId="1109011820" sldId="2147483741"/>
              <ac:spMk id="16" creationId="{D7077E52-696D-3786-48FC-7AB4345196CF}"/>
            </ac:spMkLst>
          </pc:spChg>
          <pc:spChg chg="add mod">
            <ac:chgData name="Trauer" userId="aa8b9dc3-a64d-4cc6-bd4f-f46eb5f096c9" providerId="ADAL" clId="{5B76CEF1-A6E3-49E3-8F70-F81E9495ECB4}" dt="2023-08-14T15:24:26.575" v="2577"/>
            <ac:spMkLst>
              <pc:docMk/>
              <pc:sldMasterMk cId="2655679949" sldId="2147483736"/>
              <pc:sldLayoutMk cId="1109011820" sldId="2147483741"/>
              <ac:spMk id="17" creationId="{421B38EF-1948-845B-3622-7BC5DCD6213D}"/>
            </ac:spMkLst>
          </pc:spChg>
          <pc:picChg chg="add mod">
            <ac:chgData name="Trauer" userId="aa8b9dc3-a64d-4cc6-bd4f-f46eb5f096c9" providerId="ADAL" clId="{5B76CEF1-A6E3-49E3-8F70-F81E9495ECB4}" dt="2023-08-14T16:05:31.183" v="2714"/>
            <ac:picMkLst>
              <pc:docMk/>
              <pc:sldMasterMk cId="2655679949" sldId="2147483736"/>
              <pc:sldLayoutMk cId="1109011820" sldId="2147483741"/>
              <ac:picMk id="4" creationId="{F20B657D-C851-B0D3-C193-CC9DD59C2F3D}"/>
            </ac:picMkLst>
          </pc:picChg>
          <pc:picChg chg="del">
            <ac:chgData name="Trauer" userId="aa8b9dc3-a64d-4cc6-bd4f-f46eb5f096c9" providerId="ADAL" clId="{5B76CEF1-A6E3-49E3-8F70-F81E9495ECB4}" dt="2023-08-14T14:49:34.081" v="2096" actId="478"/>
            <ac:picMkLst>
              <pc:docMk/>
              <pc:sldMasterMk cId="2655679949" sldId="2147483736"/>
              <pc:sldLayoutMk cId="1109011820" sldId="2147483741"/>
              <ac:picMk id="5" creationId="{54E41CB9-83BA-6966-C456-B3F94BD99E58}"/>
            </ac:picMkLst>
          </pc:picChg>
          <pc:picChg chg="del">
            <ac:chgData name="Trauer" userId="aa8b9dc3-a64d-4cc6-bd4f-f46eb5f096c9" providerId="ADAL" clId="{5B76CEF1-A6E3-49E3-8F70-F81E9495ECB4}" dt="2023-08-14T14:49:34.081" v="2096" actId="478"/>
            <ac:picMkLst>
              <pc:docMk/>
              <pc:sldMasterMk cId="2655679949" sldId="2147483736"/>
              <pc:sldLayoutMk cId="1109011820" sldId="2147483741"/>
              <ac:picMk id="6" creationId="{CE719191-9C25-7B50-FE95-F51E824B8240}"/>
            </ac:picMkLst>
          </pc:picChg>
          <pc:picChg chg="del">
            <ac:chgData name="Trauer" userId="aa8b9dc3-a64d-4cc6-bd4f-f46eb5f096c9" providerId="ADAL" clId="{5B76CEF1-A6E3-49E3-8F70-F81E9495ECB4}" dt="2023-08-14T14:49:34.081" v="2096" actId="478"/>
            <ac:picMkLst>
              <pc:docMk/>
              <pc:sldMasterMk cId="2655679949" sldId="2147483736"/>
              <pc:sldLayoutMk cId="1109011820" sldId="2147483741"/>
              <ac:picMk id="7" creationId="{0FB6FFFA-76BC-212F-54F1-4252B7899E53}"/>
            </ac:picMkLst>
          </pc:picChg>
          <pc:picChg chg="del">
            <ac:chgData name="Trauer" userId="aa8b9dc3-a64d-4cc6-bd4f-f46eb5f096c9" providerId="ADAL" clId="{5B76CEF1-A6E3-49E3-8F70-F81E9495ECB4}" dt="2023-08-14T16:05:30.927" v="2713" actId="478"/>
            <ac:picMkLst>
              <pc:docMk/>
              <pc:sldMasterMk cId="2655679949" sldId="2147483736"/>
              <pc:sldLayoutMk cId="1109011820" sldId="2147483741"/>
              <ac:picMk id="8" creationId="{DF6879DF-3BEF-35BA-3900-522EE0213489}"/>
            </ac:picMkLst>
          </pc:picChg>
          <pc:picChg chg="del">
            <ac:chgData name="Trauer" userId="aa8b9dc3-a64d-4cc6-bd4f-f46eb5f096c9" providerId="ADAL" clId="{5B76CEF1-A6E3-49E3-8F70-F81E9495ECB4}" dt="2023-08-14T14:49:34.081" v="2096" actId="478"/>
            <ac:picMkLst>
              <pc:docMk/>
              <pc:sldMasterMk cId="2655679949" sldId="2147483736"/>
              <pc:sldLayoutMk cId="1109011820" sldId="2147483741"/>
              <ac:picMk id="9" creationId="{B2E5F611-B128-7F38-793F-88111DAA5560}"/>
            </ac:picMkLst>
          </pc:picChg>
        </pc:sldLayoutChg>
        <pc:sldLayoutChg chg="addSp delSp modSp add del mod">
          <pc:chgData name="Trauer" userId="aa8b9dc3-a64d-4cc6-bd4f-f46eb5f096c9" providerId="ADAL" clId="{5B76CEF1-A6E3-49E3-8F70-F81E9495ECB4}" dt="2023-08-14T16:59:02.913" v="3391" actId="478"/>
          <pc:sldLayoutMkLst>
            <pc:docMk/>
            <pc:sldMasterMk cId="2655679949" sldId="2147483736"/>
            <pc:sldLayoutMk cId="663361007" sldId="2147483742"/>
          </pc:sldLayoutMkLst>
          <pc:spChg chg="mod">
            <ac:chgData name="Trauer" userId="aa8b9dc3-a64d-4cc6-bd4f-f46eb5f096c9" providerId="ADAL" clId="{5B76CEF1-A6E3-49E3-8F70-F81E9495ECB4}" dt="2023-08-14T16:07:03.590" v="2729" actId="207"/>
            <ac:spMkLst>
              <pc:docMk/>
              <pc:sldMasterMk cId="2655679949" sldId="2147483736"/>
              <pc:sldLayoutMk cId="663361007" sldId="2147483742"/>
              <ac:spMk id="2" creationId="{2C900378-EF88-67B4-65A3-A0B1F162F4B9}"/>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3" creationId="{29367559-EE75-E642-A690-D0D229DF2C71}"/>
            </ac:spMkLst>
          </pc:spChg>
          <pc:spChg chg="add del mod ord">
            <ac:chgData name="Trauer" userId="aa8b9dc3-a64d-4cc6-bd4f-f46eb5f096c9" providerId="ADAL" clId="{5B76CEF1-A6E3-49E3-8F70-F81E9495ECB4}" dt="2023-08-14T16:59:02.913" v="3391" actId="478"/>
            <ac:spMkLst>
              <pc:docMk/>
              <pc:sldMasterMk cId="2655679949" sldId="2147483736"/>
              <pc:sldLayoutMk cId="663361007" sldId="2147483742"/>
              <ac:spMk id="9" creationId="{9C2B4F54-2160-A8A0-7C9F-DFA677B3F0E1}"/>
            </ac:spMkLst>
          </pc:spChg>
          <pc:spChg chg="add mod ord">
            <ac:chgData name="Trauer" userId="aa8b9dc3-a64d-4cc6-bd4f-f46eb5f096c9" providerId="ADAL" clId="{5B76CEF1-A6E3-49E3-8F70-F81E9495ECB4}" dt="2023-08-14T15:06:28.926" v="2311" actId="167"/>
            <ac:spMkLst>
              <pc:docMk/>
              <pc:sldMasterMk cId="2655679949" sldId="2147483736"/>
              <pc:sldLayoutMk cId="663361007" sldId="2147483742"/>
              <ac:spMk id="10" creationId="{BE724D82-873C-DAE0-9827-566CA0D32DBD}"/>
            </ac:spMkLst>
          </pc:spChg>
          <pc:spChg chg="add mod">
            <ac:chgData name="Trauer" userId="aa8b9dc3-a64d-4cc6-bd4f-f46eb5f096c9" providerId="ADAL" clId="{5B76CEF1-A6E3-49E3-8F70-F81E9495ECB4}" dt="2023-08-14T15:07:28.161" v="2325"/>
            <ac:spMkLst>
              <pc:docMk/>
              <pc:sldMasterMk cId="2655679949" sldId="2147483736"/>
              <pc:sldLayoutMk cId="663361007" sldId="2147483742"/>
              <ac:spMk id="11" creationId="{BC46862B-6348-8EC5-F6AA-701D7F6F27FD}"/>
            </ac:spMkLst>
          </pc:spChg>
          <pc:spChg chg="add mod">
            <ac:chgData name="Trauer" userId="aa8b9dc3-a64d-4cc6-bd4f-f46eb5f096c9" providerId="ADAL" clId="{5B76CEF1-A6E3-49E3-8F70-F81E9495ECB4}" dt="2023-08-14T15:07:28.161" v="2325"/>
            <ac:spMkLst>
              <pc:docMk/>
              <pc:sldMasterMk cId="2655679949" sldId="2147483736"/>
              <pc:sldLayoutMk cId="663361007" sldId="2147483742"/>
              <ac:spMk id="12" creationId="{34CDBCD8-80C4-02EF-E48D-F4DFC9F9A5D6}"/>
            </ac:spMkLst>
          </pc:spChg>
          <pc:spChg chg="add mod">
            <ac:chgData name="Trauer" userId="aa8b9dc3-a64d-4cc6-bd4f-f46eb5f096c9" providerId="ADAL" clId="{5B76CEF1-A6E3-49E3-8F70-F81E9495ECB4}" dt="2023-08-14T15:07:28.161" v="2325"/>
            <ac:spMkLst>
              <pc:docMk/>
              <pc:sldMasterMk cId="2655679949" sldId="2147483736"/>
              <pc:sldLayoutMk cId="663361007" sldId="2147483742"/>
              <ac:spMk id="13" creationId="{5071FA5C-D937-2E89-198F-0497E528DBD6}"/>
            </ac:spMkLst>
          </pc:spChg>
          <pc:spChg chg="add mod">
            <ac:chgData name="Trauer" userId="aa8b9dc3-a64d-4cc6-bd4f-f46eb5f096c9" providerId="ADAL" clId="{5B76CEF1-A6E3-49E3-8F70-F81E9495ECB4}" dt="2023-08-14T15:24:31.790" v="2581"/>
            <ac:spMkLst>
              <pc:docMk/>
              <pc:sldMasterMk cId="2655679949" sldId="2147483736"/>
              <pc:sldLayoutMk cId="663361007" sldId="2147483742"/>
              <ac:spMk id="14" creationId="{E774FD7B-960E-2237-5156-8F9BFD97F9A0}"/>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2" creationId="{D7E7C16C-01F9-1149-23D7-CC5E1BDB039F}"/>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3" creationId="{1C52900E-3A24-AC6C-36A0-D2273CFA67D0}"/>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4" creationId="{9DC6139C-9827-6E68-0182-4D6B4B4C043D}"/>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5" creationId="{950083E4-8302-B373-6EE0-8984BD441C51}"/>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6" creationId="{527C5DA5-02CC-1A92-1E06-23FC2ACD8564}"/>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7" creationId="{422C7BCE-2218-A49A-7DB6-30A84CFA7360}"/>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8" creationId="{9B75D3A8-39E6-FF90-C5D7-EB28AFF78B2C}"/>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29" creationId="{880BBAD8-4238-5A0D-2FB4-B3C22D4B7121}"/>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30" creationId="{C5E8F621-2A45-1C4D-F52A-B3422D91A4AD}"/>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31" creationId="{D1A3A9E6-976E-E14A-FC6F-E6955578606D}"/>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32" creationId="{842DBA7D-2AD8-56D2-79A5-11D86FDCE195}"/>
            </ac:spMkLst>
          </pc:spChg>
          <pc:spChg chg="add mod">
            <ac:chgData name="Trauer" userId="aa8b9dc3-a64d-4cc6-bd4f-f46eb5f096c9" providerId="ADAL" clId="{5B76CEF1-A6E3-49E3-8F70-F81E9495ECB4}" dt="2023-08-14T16:58:23.481" v="3390"/>
            <ac:spMkLst>
              <pc:docMk/>
              <pc:sldMasterMk cId="2655679949" sldId="2147483736"/>
              <pc:sldLayoutMk cId="663361007" sldId="2147483742"/>
              <ac:spMk id="45" creationId="{49154ADA-4C18-07BB-F4D5-F51C9C5A1DA2}"/>
            </ac:spMkLst>
          </pc:sp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3" creationId="{05934E1D-2034-78F5-1D07-0F8F3E12CA36}"/>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4" creationId="{E4378AFA-F9A4-9128-85A0-3D81C81E4800}"/>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5" creationId="{44649D5B-94FF-FC53-6B64-0F4A53354D1A}"/>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6" creationId="{D28EE064-6E2A-74B0-04C4-29DBFE875C50}"/>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7" creationId="{E60A3289-DB8F-8A14-30BA-1EB3641605D6}"/>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8" creationId="{F3D87808-0072-ECE2-F4F4-4D20F2419862}"/>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39" creationId="{4A2E9C2B-FFD5-FA1E-720C-554956568601}"/>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40" creationId="{3F791D11-6CE6-BF85-3926-1B44E5A32E90}"/>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41" creationId="{313E886F-345A-7449-C1C6-64468EE09475}"/>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42" creationId="{47F90CB1-BA91-E960-B594-CDD9B5CF0C6C}"/>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43" creationId="{0F35D592-3697-CD8F-E5BA-2BD19C48E87D}"/>
            </ac:picMkLst>
          </pc:picChg>
          <pc:picChg chg="add mod">
            <ac:chgData name="Trauer" userId="aa8b9dc3-a64d-4cc6-bd4f-f46eb5f096c9" providerId="ADAL" clId="{5B76CEF1-A6E3-49E3-8F70-F81E9495ECB4}" dt="2023-08-14T16:58:23.481" v="3390"/>
            <ac:picMkLst>
              <pc:docMk/>
              <pc:sldMasterMk cId="2655679949" sldId="2147483736"/>
              <pc:sldLayoutMk cId="663361007" sldId="2147483742"/>
              <ac:picMk id="44" creationId="{364C8F98-2CAF-C197-20D1-4F9009DA836D}"/>
            </ac:picMkLst>
          </pc:pic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4" creationId="{E3F6FEB1-765F-7CDD-478C-1E680CD29023}"/>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5" creationId="{F622FE6E-20B0-BAA0-B112-6C8D27DBF86A}"/>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6" creationId="{7DF87C59-9954-4AA5-E48F-7A8692F4556D}"/>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7" creationId="{B4F72ED5-2506-6E19-A46E-26B55AD82400}"/>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15" creationId="{BA0E4A58-5E11-B85A-2926-50FF2624ADF5}"/>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16" creationId="{8FBD554D-991A-79DC-9E6E-DFB17E06201B}"/>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17" creationId="{F7157418-A781-BE13-D035-B32AF0ABD66F}"/>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18" creationId="{23BEC4C2-DB32-FF92-9322-ECD855BCEA29}"/>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19" creationId="{D6739B77-1B73-4818-199A-87878C4275F9}"/>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20" creationId="{EC7525B9-269E-69CC-ACA6-C5C206DE058C}"/>
            </ac:cxnSpMkLst>
          </pc:cxnChg>
          <pc:cxnChg chg="add mod">
            <ac:chgData name="Trauer" userId="aa8b9dc3-a64d-4cc6-bd4f-f46eb5f096c9" providerId="ADAL" clId="{5B76CEF1-A6E3-49E3-8F70-F81E9495ECB4}" dt="2023-08-14T16:58:23.481" v="3390"/>
            <ac:cxnSpMkLst>
              <pc:docMk/>
              <pc:sldMasterMk cId="2655679949" sldId="2147483736"/>
              <pc:sldLayoutMk cId="663361007" sldId="2147483742"/>
              <ac:cxnSpMk id="21" creationId="{3D965581-5546-8B83-7DE3-5FF5136109A0}"/>
            </ac:cxnSpMkLst>
          </pc:cxnChg>
        </pc:sldLayoutChg>
        <pc:sldLayoutChg chg="addSp delSp modSp add del mod ord">
          <pc:chgData name="Trauer" userId="aa8b9dc3-a64d-4cc6-bd4f-f46eb5f096c9" providerId="ADAL" clId="{5B76CEF1-A6E3-49E3-8F70-F81E9495ECB4}" dt="2023-08-14T16:59:46.796" v="3405" actId="478"/>
          <pc:sldLayoutMkLst>
            <pc:docMk/>
            <pc:sldMasterMk cId="2655679949" sldId="2147483736"/>
            <pc:sldLayoutMk cId="2899163252" sldId="2147483743"/>
          </pc:sldLayoutMkLst>
          <pc:spChg chg="add del mod ord">
            <ac:chgData name="Trauer" userId="aa8b9dc3-a64d-4cc6-bd4f-f46eb5f096c9" providerId="ADAL" clId="{5B76CEF1-A6E3-49E3-8F70-F81E9495ECB4}" dt="2023-08-14T16:59:07.225" v="3392" actId="478"/>
            <ac:spMkLst>
              <pc:docMk/>
              <pc:sldMasterMk cId="2655679949" sldId="2147483736"/>
              <pc:sldLayoutMk cId="2899163252" sldId="2147483743"/>
              <ac:spMk id="2" creationId="{7A9788F1-A270-20C0-35E5-E8F5DD658020}"/>
            </ac:spMkLst>
          </pc:spChg>
          <pc:spChg chg="add mod ord">
            <ac:chgData name="Trauer" userId="aa8b9dc3-a64d-4cc6-bd4f-f46eb5f096c9" providerId="ADAL" clId="{5B76CEF1-A6E3-49E3-8F70-F81E9495ECB4}" dt="2023-08-14T15:06:37.027" v="2313" actId="167"/>
            <ac:spMkLst>
              <pc:docMk/>
              <pc:sldMasterMk cId="2655679949" sldId="2147483736"/>
              <pc:sldLayoutMk cId="2899163252" sldId="2147483743"/>
              <ac:spMk id="3" creationId="{78078812-2671-674A-88A0-F341A8F6414E}"/>
            </ac:spMkLst>
          </pc:spChg>
          <pc:spChg chg="add mod">
            <ac:chgData name="Trauer" userId="aa8b9dc3-a64d-4cc6-bd4f-f46eb5f096c9" providerId="ADAL" clId="{5B76CEF1-A6E3-49E3-8F70-F81E9495ECB4}" dt="2023-08-14T15:07:29.347" v="2326"/>
            <ac:spMkLst>
              <pc:docMk/>
              <pc:sldMasterMk cId="2655679949" sldId="2147483736"/>
              <pc:sldLayoutMk cId="2899163252" sldId="2147483743"/>
              <ac:spMk id="4" creationId="{6D9B1AAF-9471-CD2B-5FAA-A04D89FBAA44}"/>
            </ac:spMkLst>
          </pc:spChg>
          <pc:spChg chg="add mod">
            <ac:chgData name="Trauer" userId="aa8b9dc3-a64d-4cc6-bd4f-f46eb5f096c9" providerId="ADAL" clId="{5B76CEF1-A6E3-49E3-8F70-F81E9495ECB4}" dt="2023-08-14T15:07:29.347" v="2326"/>
            <ac:spMkLst>
              <pc:docMk/>
              <pc:sldMasterMk cId="2655679949" sldId="2147483736"/>
              <pc:sldLayoutMk cId="2899163252" sldId="2147483743"/>
              <ac:spMk id="5" creationId="{D9122C82-5F8F-27F9-052F-53B1BF9BB4D2}"/>
            </ac:spMkLst>
          </pc:spChg>
          <pc:spChg chg="add mod">
            <ac:chgData name="Trauer" userId="aa8b9dc3-a64d-4cc6-bd4f-f46eb5f096c9" providerId="ADAL" clId="{5B76CEF1-A6E3-49E3-8F70-F81E9495ECB4}" dt="2023-08-14T15:07:29.347" v="2326"/>
            <ac:spMkLst>
              <pc:docMk/>
              <pc:sldMasterMk cId="2655679949" sldId="2147483736"/>
              <pc:sldLayoutMk cId="2899163252" sldId="2147483743"/>
              <ac:spMk id="6" creationId="{7B22BCB9-F127-D038-3A34-F88D9F708F21}"/>
            </ac:spMkLst>
          </pc:spChg>
          <pc:spChg chg="add mod">
            <ac:chgData name="Trauer" userId="aa8b9dc3-a64d-4cc6-bd4f-f46eb5f096c9" providerId="ADAL" clId="{5B76CEF1-A6E3-49E3-8F70-F81E9495ECB4}" dt="2023-08-14T15:24:33.068" v="2582"/>
            <ac:spMkLst>
              <pc:docMk/>
              <pc:sldMasterMk cId="2655679949" sldId="2147483736"/>
              <pc:sldLayoutMk cId="2899163252" sldId="2147483743"/>
              <ac:spMk id="7" creationId="{4627C36D-33D8-C04C-7D9F-3946D82E630A}"/>
            </ac:spMkLst>
          </pc:spChg>
          <pc:spChg chg="add mod">
            <ac:chgData name="Trauer" userId="aa8b9dc3-a64d-4cc6-bd4f-f46eb5f096c9" providerId="ADAL" clId="{5B76CEF1-A6E3-49E3-8F70-F81E9495ECB4}" dt="2023-08-14T16:25:53.196" v="3268" actId="1038"/>
            <ac:spMkLst>
              <pc:docMk/>
              <pc:sldMasterMk cId="2655679949" sldId="2147483736"/>
              <pc:sldLayoutMk cId="2899163252" sldId="2147483743"/>
              <ac:spMk id="8" creationId="{6255C0E2-41CA-5374-812A-C57DBA1A39D0}"/>
            </ac:spMkLst>
          </pc:spChg>
          <pc:spChg chg="add del mod">
            <ac:chgData name="Trauer" userId="aa8b9dc3-a64d-4cc6-bd4f-f46eb5f096c9" providerId="ADAL" clId="{5B76CEF1-A6E3-49E3-8F70-F81E9495ECB4}" dt="2023-08-14T16:59:46.796" v="3405" actId="478"/>
            <ac:spMkLst>
              <pc:docMk/>
              <pc:sldMasterMk cId="2655679949" sldId="2147483736"/>
              <pc:sldLayoutMk cId="2899163252" sldId="2147483743"/>
              <ac:spMk id="10" creationId="{4E354E02-2EF4-E0B4-1410-B3B781FBAEC7}"/>
            </ac:spMkLst>
          </pc:spChg>
          <pc:picChg chg="add mod">
            <ac:chgData name="Trauer" userId="aa8b9dc3-a64d-4cc6-bd4f-f46eb5f096c9" providerId="ADAL" clId="{5B76CEF1-A6E3-49E3-8F70-F81E9495ECB4}" dt="2023-08-14T16:04:03.849" v="2704"/>
            <ac:picMkLst>
              <pc:docMk/>
              <pc:sldMasterMk cId="2655679949" sldId="2147483736"/>
              <pc:sldLayoutMk cId="2899163252" sldId="2147483743"/>
              <ac:picMk id="9" creationId="{C78285EE-82EC-C351-FC62-CB1278DADDD7}"/>
            </ac:picMkLst>
          </pc:picChg>
        </pc:sldLayoutChg>
        <pc:sldLayoutChg chg="addSp delSp modSp add del mod">
          <pc:chgData name="Trauer" userId="aa8b9dc3-a64d-4cc6-bd4f-f46eb5f096c9" providerId="ADAL" clId="{5B76CEF1-A6E3-49E3-8F70-F81E9495ECB4}" dt="2023-08-14T16:59:37.738" v="3401"/>
          <pc:sldLayoutMkLst>
            <pc:docMk/>
            <pc:sldMasterMk cId="2655679949" sldId="2147483736"/>
            <pc:sldLayoutMk cId="2815697444" sldId="2147483744"/>
          </pc:sldLayoutMkLst>
          <pc:spChg chg="add del mod">
            <ac:chgData name="Trauer" userId="aa8b9dc3-a64d-4cc6-bd4f-f46eb5f096c9" providerId="ADAL" clId="{5B76CEF1-A6E3-49E3-8F70-F81E9495ECB4}" dt="2023-08-14T16:05:06.245" v="2710"/>
            <ac:spMkLst>
              <pc:docMk/>
              <pc:sldMasterMk cId="2655679949" sldId="2147483736"/>
              <pc:sldLayoutMk cId="2815697444" sldId="2147483744"/>
              <ac:spMk id="2" creationId="{15351C9F-E2B4-E423-241E-C78AB34B07ED}"/>
            </ac:spMkLst>
          </pc:spChg>
          <pc:spChg chg="del mod">
            <ac:chgData name="Trauer" userId="aa8b9dc3-a64d-4cc6-bd4f-f46eb5f096c9" providerId="ADAL" clId="{5B76CEF1-A6E3-49E3-8F70-F81E9495ECB4}" dt="2023-08-14T16:05:07.275" v="2711" actId="478"/>
            <ac:spMkLst>
              <pc:docMk/>
              <pc:sldMasterMk cId="2655679949" sldId="2147483736"/>
              <pc:sldLayoutMk cId="2815697444" sldId="2147483744"/>
              <ac:spMk id="3" creationId="{7E2725FB-B6A6-5D41-E1E1-E88FABDC569F}"/>
            </ac:spMkLst>
          </pc:spChg>
          <pc:spChg chg="add mod">
            <ac:chgData name="Trauer" userId="aa8b9dc3-a64d-4cc6-bd4f-f46eb5f096c9" providerId="ADAL" clId="{5B76CEF1-A6E3-49E3-8F70-F81E9495ECB4}" dt="2023-08-14T16:06:54.474" v="2726" actId="207"/>
            <ac:spMkLst>
              <pc:docMk/>
              <pc:sldMasterMk cId="2655679949" sldId="2147483736"/>
              <pc:sldLayoutMk cId="2815697444" sldId="2147483744"/>
              <ac:spMk id="5" creationId="{AF018E51-856D-1CE7-AD15-A00E69CEF0B7}"/>
            </ac:spMkLst>
          </pc:spChg>
          <pc:spChg chg="add mod">
            <ac:chgData name="Trauer" userId="aa8b9dc3-a64d-4cc6-bd4f-f46eb5f096c9" providerId="ADAL" clId="{5B76CEF1-A6E3-49E3-8F70-F81E9495ECB4}" dt="2023-08-14T16:59:37.738" v="3401"/>
            <ac:spMkLst>
              <pc:docMk/>
              <pc:sldMasterMk cId="2655679949" sldId="2147483736"/>
              <pc:sldLayoutMk cId="2815697444" sldId="2147483744"/>
              <ac:spMk id="7" creationId="{025D9F99-F7B8-80AA-07AD-B0ECAB54F383}"/>
            </ac:spMkLst>
          </pc:spChg>
          <pc:spChg chg="add del mod ord">
            <ac:chgData name="Trauer" userId="aa8b9dc3-a64d-4cc6-bd4f-f46eb5f096c9" providerId="ADAL" clId="{5B76CEF1-A6E3-49E3-8F70-F81E9495ECB4}" dt="2023-08-14T16:59:20.499" v="3396" actId="478"/>
            <ac:spMkLst>
              <pc:docMk/>
              <pc:sldMasterMk cId="2655679949" sldId="2147483736"/>
              <pc:sldLayoutMk cId="2815697444" sldId="2147483744"/>
              <ac:spMk id="10" creationId="{17399AD9-05BE-3E7A-A5CB-1E81FAC0D725}"/>
            </ac:spMkLst>
          </pc:spChg>
          <pc:spChg chg="add mod ord">
            <ac:chgData name="Trauer" userId="aa8b9dc3-a64d-4cc6-bd4f-f46eb5f096c9" providerId="ADAL" clId="{5B76CEF1-A6E3-49E3-8F70-F81E9495ECB4}" dt="2023-08-14T15:06:05.892" v="2305" actId="167"/>
            <ac:spMkLst>
              <pc:docMk/>
              <pc:sldMasterMk cId="2655679949" sldId="2147483736"/>
              <pc:sldLayoutMk cId="2815697444" sldId="2147483744"/>
              <ac:spMk id="11" creationId="{BE05C912-9040-00ED-A975-D00CE40F024D}"/>
            </ac:spMkLst>
          </pc:spChg>
          <pc:spChg chg="add mod">
            <ac:chgData name="Trauer" userId="aa8b9dc3-a64d-4cc6-bd4f-f46eb5f096c9" providerId="ADAL" clId="{5B76CEF1-A6E3-49E3-8F70-F81E9495ECB4}" dt="2023-08-14T15:07:20.789" v="2322"/>
            <ac:spMkLst>
              <pc:docMk/>
              <pc:sldMasterMk cId="2655679949" sldId="2147483736"/>
              <pc:sldLayoutMk cId="2815697444" sldId="2147483744"/>
              <ac:spMk id="12" creationId="{629CD91F-C346-A323-F7BD-BAB7B8BF4398}"/>
            </ac:spMkLst>
          </pc:spChg>
          <pc:spChg chg="add mod">
            <ac:chgData name="Trauer" userId="aa8b9dc3-a64d-4cc6-bd4f-f46eb5f096c9" providerId="ADAL" clId="{5B76CEF1-A6E3-49E3-8F70-F81E9495ECB4}" dt="2023-08-14T15:07:20.789" v="2322"/>
            <ac:spMkLst>
              <pc:docMk/>
              <pc:sldMasterMk cId="2655679949" sldId="2147483736"/>
              <pc:sldLayoutMk cId="2815697444" sldId="2147483744"/>
              <ac:spMk id="13" creationId="{18979AC8-277E-FD0B-C6D5-1609EC1253D7}"/>
            </ac:spMkLst>
          </pc:spChg>
          <pc:spChg chg="add mod">
            <ac:chgData name="Trauer" userId="aa8b9dc3-a64d-4cc6-bd4f-f46eb5f096c9" providerId="ADAL" clId="{5B76CEF1-A6E3-49E3-8F70-F81E9495ECB4}" dt="2023-08-14T15:07:20.789" v="2322"/>
            <ac:spMkLst>
              <pc:docMk/>
              <pc:sldMasterMk cId="2655679949" sldId="2147483736"/>
              <pc:sldLayoutMk cId="2815697444" sldId="2147483744"/>
              <ac:spMk id="14" creationId="{C89CBA11-536B-3F8C-FC28-7270A86934CB}"/>
            </ac:spMkLst>
          </pc:spChg>
          <pc:spChg chg="add mod">
            <ac:chgData name="Trauer" userId="aa8b9dc3-a64d-4cc6-bd4f-f46eb5f096c9" providerId="ADAL" clId="{5B76CEF1-A6E3-49E3-8F70-F81E9495ECB4}" dt="2023-08-14T15:24:27.824" v="2578"/>
            <ac:spMkLst>
              <pc:docMk/>
              <pc:sldMasterMk cId="2655679949" sldId="2147483736"/>
              <pc:sldLayoutMk cId="2815697444" sldId="2147483744"/>
              <ac:spMk id="15" creationId="{7C34C798-D046-BFD9-9130-3FA1DD4D8978}"/>
            </ac:spMkLst>
          </pc:spChg>
          <pc:picChg chg="del">
            <ac:chgData name="Trauer" userId="aa8b9dc3-a64d-4cc6-bd4f-f46eb5f096c9" providerId="ADAL" clId="{5B76CEF1-A6E3-49E3-8F70-F81E9495ECB4}" dt="2023-08-14T14:56:22.518" v="2193" actId="478"/>
            <ac:picMkLst>
              <pc:docMk/>
              <pc:sldMasterMk cId="2655679949" sldId="2147483736"/>
              <pc:sldLayoutMk cId="2815697444" sldId="2147483744"/>
              <ac:picMk id="2" creationId="{F871BB4C-B762-ACD1-C59D-4347696AA960}"/>
            </ac:picMkLst>
          </pc:picChg>
          <pc:picChg chg="add del mod">
            <ac:chgData name="Trauer" userId="aa8b9dc3-a64d-4cc6-bd4f-f46eb5f096c9" providerId="ADAL" clId="{5B76CEF1-A6E3-49E3-8F70-F81E9495ECB4}" dt="2023-08-14T16:05:06.245" v="2710"/>
            <ac:picMkLst>
              <pc:docMk/>
              <pc:sldMasterMk cId="2655679949" sldId="2147483736"/>
              <pc:sldLayoutMk cId="2815697444" sldId="2147483744"/>
              <ac:picMk id="4" creationId="{C1E659E1-6AA9-3825-5061-5FBA841B0572}"/>
            </ac:picMkLst>
          </pc:picChg>
          <pc:picChg chg="del">
            <ac:chgData name="Trauer" userId="aa8b9dc3-a64d-4cc6-bd4f-f46eb5f096c9" providerId="ADAL" clId="{5B76CEF1-A6E3-49E3-8F70-F81E9495ECB4}" dt="2023-08-14T14:56:22.518" v="2193" actId="478"/>
            <ac:picMkLst>
              <pc:docMk/>
              <pc:sldMasterMk cId="2655679949" sldId="2147483736"/>
              <pc:sldLayoutMk cId="2815697444" sldId="2147483744"/>
              <ac:picMk id="5" creationId="{7A0DA1DA-0719-7D71-A5C3-DE4DFA9AC77F}"/>
            </ac:picMkLst>
          </pc:picChg>
          <pc:picChg chg="del">
            <ac:chgData name="Trauer" userId="aa8b9dc3-a64d-4cc6-bd4f-f46eb5f096c9" providerId="ADAL" clId="{5B76CEF1-A6E3-49E3-8F70-F81E9495ECB4}" dt="2023-08-14T14:56:22.518" v="2193" actId="478"/>
            <ac:picMkLst>
              <pc:docMk/>
              <pc:sldMasterMk cId="2655679949" sldId="2147483736"/>
              <pc:sldLayoutMk cId="2815697444" sldId="2147483744"/>
              <ac:picMk id="6" creationId="{2DFA1E7F-6DE5-385F-A9ED-4929B56A6527}"/>
            </ac:picMkLst>
          </pc:picChg>
          <pc:picChg chg="add mod">
            <ac:chgData name="Trauer" userId="aa8b9dc3-a64d-4cc6-bd4f-f46eb5f096c9" providerId="ADAL" clId="{5B76CEF1-A6E3-49E3-8F70-F81E9495ECB4}" dt="2023-08-14T16:05:07.661" v="2712"/>
            <ac:picMkLst>
              <pc:docMk/>
              <pc:sldMasterMk cId="2655679949" sldId="2147483736"/>
              <pc:sldLayoutMk cId="2815697444" sldId="2147483744"/>
              <ac:picMk id="6" creationId="{B527B3F6-C826-05E8-CDAD-DDE23FDDF6EA}"/>
            </ac:picMkLst>
          </pc:picChg>
          <pc:picChg chg="del">
            <ac:chgData name="Trauer" userId="aa8b9dc3-a64d-4cc6-bd4f-f46eb5f096c9" providerId="ADAL" clId="{5B76CEF1-A6E3-49E3-8F70-F81E9495ECB4}" dt="2023-08-14T14:56:22.518" v="2193" actId="478"/>
            <ac:picMkLst>
              <pc:docMk/>
              <pc:sldMasterMk cId="2655679949" sldId="2147483736"/>
              <pc:sldLayoutMk cId="2815697444" sldId="2147483744"/>
              <ac:picMk id="7" creationId="{4F1C8E30-DAB5-9305-1F3D-CF36B0B95253}"/>
            </ac:picMkLst>
          </pc:picChg>
          <pc:picChg chg="del">
            <ac:chgData name="Trauer" userId="aa8b9dc3-a64d-4cc6-bd4f-f46eb5f096c9" providerId="ADAL" clId="{5B76CEF1-A6E3-49E3-8F70-F81E9495ECB4}" dt="2023-08-14T14:56:22.518" v="2193" actId="478"/>
            <ac:picMkLst>
              <pc:docMk/>
              <pc:sldMasterMk cId="2655679949" sldId="2147483736"/>
              <pc:sldLayoutMk cId="2815697444" sldId="2147483744"/>
              <ac:picMk id="8" creationId="{0D3078F0-B3E5-7F5E-34C7-E9DA39E139AF}"/>
            </ac:picMkLst>
          </pc:picChg>
          <pc:picChg chg="del">
            <ac:chgData name="Trauer" userId="aa8b9dc3-a64d-4cc6-bd4f-f46eb5f096c9" providerId="ADAL" clId="{5B76CEF1-A6E3-49E3-8F70-F81E9495ECB4}" dt="2023-08-14T16:05:07.275" v="2711" actId="478"/>
            <ac:picMkLst>
              <pc:docMk/>
              <pc:sldMasterMk cId="2655679949" sldId="2147483736"/>
              <pc:sldLayoutMk cId="2815697444" sldId="2147483744"/>
              <ac:picMk id="9" creationId="{D3EBA0D5-96E9-0B69-CA8C-3587CA740139}"/>
            </ac:picMkLst>
          </pc:picChg>
        </pc:sldLayoutChg>
        <pc:sldLayoutChg chg="addSp delSp modSp add del mod">
          <pc:chgData name="Trauer" userId="aa8b9dc3-a64d-4cc6-bd4f-f46eb5f096c9" providerId="ADAL" clId="{5B76CEF1-A6E3-49E3-8F70-F81E9495ECB4}" dt="2023-08-14T16:59:38.463" v="3402"/>
          <pc:sldLayoutMkLst>
            <pc:docMk/>
            <pc:sldMasterMk cId="2655679949" sldId="2147483736"/>
            <pc:sldLayoutMk cId="2509097860" sldId="2147483745"/>
          </pc:sldLayoutMkLst>
          <pc:spChg chg="add mod">
            <ac:chgData name="Trauer" userId="aa8b9dc3-a64d-4cc6-bd4f-f46eb5f096c9" providerId="ADAL" clId="{5B76CEF1-A6E3-49E3-8F70-F81E9495ECB4}" dt="2023-08-14T16:06:57.430" v="2727" actId="207"/>
            <ac:spMkLst>
              <pc:docMk/>
              <pc:sldMasterMk cId="2655679949" sldId="2147483736"/>
              <pc:sldLayoutMk cId="2509097860" sldId="2147483745"/>
              <ac:spMk id="2" creationId="{4BFD072D-8F6C-227F-917A-E171BEFB916E}"/>
            </ac:spMkLst>
          </pc:spChg>
          <pc:spChg chg="del mod">
            <ac:chgData name="Trauer" userId="aa8b9dc3-a64d-4cc6-bd4f-f46eb5f096c9" providerId="ADAL" clId="{5B76CEF1-A6E3-49E3-8F70-F81E9495ECB4}" dt="2023-08-14T16:04:54.844" v="2707" actId="478"/>
            <ac:spMkLst>
              <pc:docMk/>
              <pc:sldMasterMk cId="2655679949" sldId="2147483736"/>
              <pc:sldLayoutMk cId="2509097860" sldId="2147483745"/>
              <ac:spMk id="3" creationId="{7E2725FB-B6A6-5D41-E1E1-E88FABDC569F}"/>
            </ac:spMkLst>
          </pc:spChg>
          <pc:spChg chg="add mod">
            <ac:chgData name="Trauer" userId="aa8b9dc3-a64d-4cc6-bd4f-f46eb5f096c9" providerId="ADAL" clId="{5B76CEF1-A6E3-49E3-8F70-F81E9495ECB4}" dt="2023-08-14T16:59:38.463" v="3402"/>
            <ac:spMkLst>
              <pc:docMk/>
              <pc:sldMasterMk cId="2655679949" sldId="2147483736"/>
              <pc:sldLayoutMk cId="2509097860" sldId="2147483745"/>
              <ac:spMk id="5" creationId="{3E6F229B-4677-CA8E-DA7B-7AB4DF672C8C}"/>
            </ac:spMkLst>
          </pc:spChg>
          <pc:spChg chg="add del mod ord">
            <ac:chgData name="Trauer" userId="aa8b9dc3-a64d-4cc6-bd4f-f46eb5f096c9" providerId="ADAL" clId="{5B76CEF1-A6E3-49E3-8F70-F81E9495ECB4}" dt="2023-08-14T16:59:18.500" v="3395" actId="478"/>
            <ac:spMkLst>
              <pc:docMk/>
              <pc:sldMasterMk cId="2655679949" sldId="2147483736"/>
              <pc:sldLayoutMk cId="2509097860" sldId="2147483745"/>
              <ac:spMk id="11" creationId="{138A065E-91E2-6078-7255-B27086919C2D}"/>
            </ac:spMkLst>
          </pc:spChg>
          <pc:spChg chg="add mod ord">
            <ac:chgData name="Trauer" userId="aa8b9dc3-a64d-4cc6-bd4f-f46eb5f096c9" providerId="ADAL" clId="{5B76CEF1-A6E3-49E3-8F70-F81E9495ECB4}" dt="2023-08-14T15:06:11.867" v="2307" actId="167"/>
            <ac:spMkLst>
              <pc:docMk/>
              <pc:sldMasterMk cId="2655679949" sldId="2147483736"/>
              <pc:sldLayoutMk cId="2509097860" sldId="2147483745"/>
              <ac:spMk id="12" creationId="{1F6684C0-B032-908E-9157-B5675BF177F2}"/>
            </ac:spMkLst>
          </pc:spChg>
          <pc:spChg chg="add mod">
            <ac:chgData name="Trauer" userId="aa8b9dc3-a64d-4cc6-bd4f-f46eb5f096c9" providerId="ADAL" clId="{5B76CEF1-A6E3-49E3-8F70-F81E9495ECB4}" dt="2023-08-14T15:07:23.221" v="2323"/>
            <ac:spMkLst>
              <pc:docMk/>
              <pc:sldMasterMk cId="2655679949" sldId="2147483736"/>
              <pc:sldLayoutMk cId="2509097860" sldId="2147483745"/>
              <ac:spMk id="13" creationId="{51EF61A2-0EBB-BE78-8A76-1FA55356A8A6}"/>
            </ac:spMkLst>
          </pc:spChg>
          <pc:spChg chg="add mod">
            <ac:chgData name="Trauer" userId="aa8b9dc3-a64d-4cc6-bd4f-f46eb5f096c9" providerId="ADAL" clId="{5B76CEF1-A6E3-49E3-8F70-F81E9495ECB4}" dt="2023-08-14T15:07:23.221" v="2323"/>
            <ac:spMkLst>
              <pc:docMk/>
              <pc:sldMasterMk cId="2655679949" sldId="2147483736"/>
              <pc:sldLayoutMk cId="2509097860" sldId="2147483745"/>
              <ac:spMk id="14" creationId="{1A9C2B12-60C6-B258-C87D-F803B0F6FFD5}"/>
            </ac:spMkLst>
          </pc:spChg>
          <pc:spChg chg="add mod">
            <ac:chgData name="Trauer" userId="aa8b9dc3-a64d-4cc6-bd4f-f46eb5f096c9" providerId="ADAL" clId="{5B76CEF1-A6E3-49E3-8F70-F81E9495ECB4}" dt="2023-08-14T15:07:23.221" v="2323"/>
            <ac:spMkLst>
              <pc:docMk/>
              <pc:sldMasterMk cId="2655679949" sldId="2147483736"/>
              <pc:sldLayoutMk cId="2509097860" sldId="2147483745"/>
              <ac:spMk id="15" creationId="{AF79D753-E2AE-6DEC-7B9A-E1156C346564}"/>
            </ac:spMkLst>
          </pc:spChg>
          <pc:spChg chg="add mod">
            <ac:chgData name="Trauer" userId="aa8b9dc3-a64d-4cc6-bd4f-f46eb5f096c9" providerId="ADAL" clId="{5B76CEF1-A6E3-49E3-8F70-F81E9495ECB4}" dt="2023-08-14T15:24:29.056" v="2579"/>
            <ac:spMkLst>
              <pc:docMk/>
              <pc:sldMasterMk cId="2655679949" sldId="2147483736"/>
              <pc:sldLayoutMk cId="2509097860" sldId="2147483745"/>
              <ac:spMk id="16" creationId="{6FFED407-CF0B-FA16-DF8A-1B36FB00A62E}"/>
            </ac:spMkLst>
          </pc:spChg>
          <pc:picChg chg="del">
            <ac:chgData name="Trauer" userId="aa8b9dc3-a64d-4cc6-bd4f-f46eb5f096c9" providerId="ADAL" clId="{5B76CEF1-A6E3-49E3-8F70-F81E9495ECB4}" dt="2023-08-14T14:56:27.220" v="2194" actId="478"/>
            <ac:picMkLst>
              <pc:docMk/>
              <pc:sldMasterMk cId="2655679949" sldId="2147483736"/>
              <pc:sldLayoutMk cId="2509097860" sldId="2147483745"/>
              <ac:picMk id="2" creationId="{56F8232B-29B4-7715-1DCE-C4E48A48AE0A}"/>
            </ac:picMkLst>
          </pc:picChg>
          <pc:picChg chg="add mod">
            <ac:chgData name="Trauer" userId="aa8b9dc3-a64d-4cc6-bd4f-f46eb5f096c9" providerId="ADAL" clId="{5B76CEF1-A6E3-49E3-8F70-F81E9495ECB4}" dt="2023-08-14T16:04:55.071" v="2708"/>
            <ac:picMkLst>
              <pc:docMk/>
              <pc:sldMasterMk cId="2655679949" sldId="2147483736"/>
              <pc:sldLayoutMk cId="2509097860" sldId="2147483745"/>
              <ac:picMk id="4" creationId="{71F3C231-9414-AD97-91A1-02FE915C2B73}"/>
            </ac:picMkLst>
          </pc:picChg>
          <pc:picChg chg="del">
            <ac:chgData name="Trauer" userId="aa8b9dc3-a64d-4cc6-bd4f-f46eb5f096c9" providerId="ADAL" clId="{5B76CEF1-A6E3-49E3-8F70-F81E9495ECB4}" dt="2023-08-14T14:56:27.220" v="2194" actId="478"/>
            <ac:picMkLst>
              <pc:docMk/>
              <pc:sldMasterMk cId="2655679949" sldId="2147483736"/>
              <pc:sldLayoutMk cId="2509097860" sldId="2147483745"/>
              <ac:picMk id="5" creationId="{5C1129DA-3CD7-82C8-E7EB-ACF0BB7E1358}"/>
            </ac:picMkLst>
          </pc:picChg>
          <pc:picChg chg="del">
            <ac:chgData name="Trauer" userId="aa8b9dc3-a64d-4cc6-bd4f-f46eb5f096c9" providerId="ADAL" clId="{5B76CEF1-A6E3-49E3-8F70-F81E9495ECB4}" dt="2023-08-14T14:56:27.220" v="2194" actId="478"/>
            <ac:picMkLst>
              <pc:docMk/>
              <pc:sldMasterMk cId="2655679949" sldId="2147483736"/>
              <pc:sldLayoutMk cId="2509097860" sldId="2147483745"/>
              <ac:picMk id="6" creationId="{26FC80D0-B740-DC57-5386-35FC2B145F62}"/>
            </ac:picMkLst>
          </pc:picChg>
          <pc:picChg chg="del">
            <ac:chgData name="Trauer" userId="aa8b9dc3-a64d-4cc6-bd4f-f46eb5f096c9" providerId="ADAL" clId="{5B76CEF1-A6E3-49E3-8F70-F81E9495ECB4}" dt="2023-08-14T14:56:27.220" v="2194" actId="478"/>
            <ac:picMkLst>
              <pc:docMk/>
              <pc:sldMasterMk cId="2655679949" sldId="2147483736"/>
              <pc:sldLayoutMk cId="2509097860" sldId="2147483745"/>
              <ac:picMk id="7" creationId="{F16BF5B8-BDF7-660D-9A57-DD62B8ED2288}"/>
            </ac:picMkLst>
          </pc:picChg>
          <pc:picChg chg="del">
            <ac:chgData name="Trauer" userId="aa8b9dc3-a64d-4cc6-bd4f-f46eb5f096c9" providerId="ADAL" clId="{5B76CEF1-A6E3-49E3-8F70-F81E9495ECB4}" dt="2023-08-14T14:56:27.220" v="2194" actId="478"/>
            <ac:picMkLst>
              <pc:docMk/>
              <pc:sldMasterMk cId="2655679949" sldId="2147483736"/>
              <pc:sldLayoutMk cId="2509097860" sldId="2147483745"/>
              <ac:picMk id="8" creationId="{D83D26D5-4261-7470-3ECF-09E6E37EE7F1}"/>
            </ac:picMkLst>
          </pc:picChg>
          <pc:picChg chg="del">
            <ac:chgData name="Trauer" userId="aa8b9dc3-a64d-4cc6-bd4f-f46eb5f096c9" providerId="ADAL" clId="{5B76CEF1-A6E3-49E3-8F70-F81E9495ECB4}" dt="2023-08-14T16:04:54.844" v="2707" actId="478"/>
            <ac:picMkLst>
              <pc:docMk/>
              <pc:sldMasterMk cId="2655679949" sldId="2147483736"/>
              <pc:sldLayoutMk cId="2509097860" sldId="2147483745"/>
              <ac:picMk id="10" creationId="{D45F3E76-6B05-0A62-F050-C5BBACBDEE12}"/>
            </ac:picMkLst>
          </pc:picChg>
        </pc:sldLayoutChg>
        <pc:sldLayoutChg chg="addSp delSp modSp add del mod ord">
          <pc:chgData name="Trauer" userId="aa8b9dc3-a64d-4cc6-bd4f-f46eb5f096c9" providerId="ADAL" clId="{5B76CEF1-A6E3-49E3-8F70-F81E9495ECB4}" dt="2023-08-14T16:59:39.403" v="3403"/>
          <pc:sldLayoutMkLst>
            <pc:docMk/>
            <pc:sldMasterMk cId="2655679949" sldId="2147483736"/>
            <pc:sldLayoutMk cId="2190780454" sldId="2147483746"/>
          </pc:sldLayoutMkLst>
          <pc:spChg chg="add mod">
            <ac:chgData name="Trauer" userId="aa8b9dc3-a64d-4cc6-bd4f-f46eb5f096c9" providerId="ADAL" clId="{5B76CEF1-A6E3-49E3-8F70-F81E9495ECB4}" dt="2023-08-14T16:07:00.682" v="2728" actId="207"/>
            <ac:spMkLst>
              <pc:docMk/>
              <pc:sldMasterMk cId="2655679949" sldId="2147483736"/>
              <pc:sldLayoutMk cId="2190780454" sldId="2147483746"/>
              <ac:spMk id="2" creationId="{39B26F00-FE05-E885-F17E-4E9BECE9B1D2}"/>
            </ac:spMkLst>
          </pc:spChg>
          <pc:spChg chg="del mod">
            <ac:chgData name="Trauer" userId="aa8b9dc3-a64d-4cc6-bd4f-f46eb5f096c9" providerId="ADAL" clId="{5B76CEF1-A6E3-49E3-8F70-F81E9495ECB4}" dt="2023-08-14T16:04:39.901" v="2705" actId="478"/>
            <ac:spMkLst>
              <pc:docMk/>
              <pc:sldMasterMk cId="2655679949" sldId="2147483736"/>
              <pc:sldLayoutMk cId="2190780454" sldId="2147483746"/>
              <ac:spMk id="3" creationId="{7E2725FB-B6A6-5D41-E1E1-E88FABDC569F}"/>
            </ac:spMkLst>
          </pc:spChg>
          <pc:spChg chg="add mod">
            <ac:chgData name="Trauer" userId="aa8b9dc3-a64d-4cc6-bd4f-f46eb5f096c9" providerId="ADAL" clId="{5B76CEF1-A6E3-49E3-8F70-F81E9495ECB4}" dt="2023-08-14T16:59:39.403" v="3403"/>
            <ac:spMkLst>
              <pc:docMk/>
              <pc:sldMasterMk cId="2655679949" sldId="2147483736"/>
              <pc:sldLayoutMk cId="2190780454" sldId="2147483746"/>
              <ac:spMk id="5" creationId="{2352A48B-5423-2179-9028-6C9C0682B110}"/>
            </ac:spMkLst>
          </pc:spChg>
          <pc:spChg chg="add del mod ord">
            <ac:chgData name="Trauer" userId="aa8b9dc3-a64d-4cc6-bd4f-f46eb5f096c9" providerId="ADAL" clId="{5B76CEF1-A6E3-49E3-8F70-F81E9495ECB4}" dt="2023-08-14T16:59:15.722" v="3394" actId="478"/>
            <ac:spMkLst>
              <pc:docMk/>
              <pc:sldMasterMk cId="2655679949" sldId="2147483736"/>
              <pc:sldLayoutMk cId="2190780454" sldId="2147483746"/>
              <ac:spMk id="10" creationId="{7D2AA9B6-0AE1-E05B-74A3-E39DA58C7C8B}"/>
            </ac:spMkLst>
          </pc:spChg>
          <pc:spChg chg="add mod ord">
            <ac:chgData name="Trauer" userId="aa8b9dc3-a64d-4cc6-bd4f-f46eb5f096c9" providerId="ADAL" clId="{5B76CEF1-A6E3-49E3-8F70-F81E9495ECB4}" dt="2023-08-14T15:06:18.903" v="2309" actId="167"/>
            <ac:spMkLst>
              <pc:docMk/>
              <pc:sldMasterMk cId="2655679949" sldId="2147483736"/>
              <pc:sldLayoutMk cId="2190780454" sldId="2147483746"/>
              <ac:spMk id="11" creationId="{D4AEB723-681C-72CB-33C8-DD3833150FC1}"/>
            </ac:spMkLst>
          </pc:spChg>
          <pc:spChg chg="add mod">
            <ac:chgData name="Trauer" userId="aa8b9dc3-a64d-4cc6-bd4f-f46eb5f096c9" providerId="ADAL" clId="{5B76CEF1-A6E3-49E3-8F70-F81E9495ECB4}" dt="2023-08-14T15:07:25.773" v="2324"/>
            <ac:spMkLst>
              <pc:docMk/>
              <pc:sldMasterMk cId="2655679949" sldId="2147483736"/>
              <pc:sldLayoutMk cId="2190780454" sldId="2147483746"/>
              <ac:spMk id="12" creationId="{A4258F32-4372-1FF4-3B11-F3ADA69461F4}"/>
            </ac:spMkLst>
          </pc:spChg>
          <pc:spChg chg="add mod">
            <ac:chgData name="Trauer" userId="aa8b9dc3-a64d-4cc6-bd4f-f46eb5f096c9" providerId="ADAL" clId="{5B76CEF1-A6E3-49E3-8F70-F81E9495ECB4}" dt="2023-08-14T15:07:25.773" v="2324"/>
            <ac:spMkLst>
              <pc:docMk/>
              <pc:sldMasterMk cId="2655679949" sldId="2147483736"/>
              <pc:sldLayoutMk cId="2190780454" sldId="2147483746"/>
              <ac:spMk id="13" creationId="{31B7A9D4-A066-9B49-4293-2E5076943D12}"/>
            </ac:spMkLst>
          </pc:spChg>
          <pc:spChg chg="add mod">
            <ac:chgData name="Trauer" userId="aa8b9dc3-a64d-4cc6-bd4f-f46eb5f096c9" providerId="ADAL" clId="{5B76CEF1-A6E3-49E3-8F70-F81E9495ECB4}" dt="2023-08-14T15:07:25.773" v="2324"/>
            <ac:spMkLst>
              <pc:docMk/>
              <pc:sldMasterMk cId="2655679949" sldId="2147483736"/>
              <pc:sldLayoutMk cId="2190780454" sldId="2147483746"/>
              <ac:spMk id="14" creationId="{F9AF1BF2-5C3D-CF69-CE5B-1BD16A441E1B}"/>
            </ac:spMkLst>
          </pc:spChg>
          <pc:spChg chg="add mod">
            <ac:chgData name="Trauer" userId="aa8b9dc3-a64d-4cc6-bd4f-f46eb5f096c9" providerId="ADAL" clId="{5B76CEF1-A6E3-49E3-8F70-F81E9495ECB4}" dt="2023-08-14T15:24:30.453" v="2580"/>
            <ac:spMkLst>
              <pc:docMk/>
              <pc:sldMasterMk cId="2655679949" sldId="2147483736"/>
              <pc:sldLayoutMk cId="2190780454" sldId="2147483746"/>
              <ac:spMk id="15" creationId="{E789D709-C346-D722-61ED-EC95EF55C263}"/>
            </ac:spMkLst>
          </pc:spChg>
          <pc:picChg chg="del">
            <ac:chgData name="Trauer" userId="aa8b9dc3-a64d-4cc6-bd4f-f46eb5f096c9" providerId="ADAL" clId="{5B76CEF1-A6E3-49E3-8F70-F81E9495ECB4}" dt="2023-08-14T14:56:31.797" v="2195" actId="478"/>
            <ac:picMkLst>
              <pc:docMk/>
              <pc:sldMasterMk cId="2655679949" sldId="2147483736"/>
              <pc:sldLayoutMk cId="2190780454" sldId="2147483746"/>
              <ac:picMk id="2" creationId="{D61633D9-66DD-0F08-0804-F3BF6A85E314}"/>
            </ac:picMkLst>
          </pc:picChg>
          <pc:picChg chg="add mod">
            <ac:chgData name="Trauer" userId="aa8b9dc3-a64d-4cc6-bd4f-f46eb5f096c9" providerId="ADAL" clId="{5B76CEF1-A6E3-49E3-8F70-F81E9495ECB4}" dt="2023-08-14T16:04:40.349" v="2706"/>
            <ac:picMkLst>
              <pc:docMk/>
              <pc:sldMasterMk cId="2655679949" sldId="2147483736"/>
              <pc:sldLayoutMk cId="2190780454" sldId="2147483746"/>
              <ac:picMk id="4" creationId="{9503B3FE-02A2-F209-0F3C-9133F74A0D12}"/>
            </ac:picMkLst>
          </pc:picChg>
          <pc:picChg chg="del">
            <ac:chgData name="Trauer" userId="aa8b9dc3-a64d-4cc6-bd4f-f46eb5f096c9" providerId="ADAL" clId="{5B76CEF1-A6E3-49E3-8F70-F81E9495ECB4}" dt="2023-08-14T14:56:31.797" v="2195" actId="478"/>
            <ac:picMkLst>
              <pc:docMk/>
              <pc:sldMasterMk cId="2655679949" sldId="2147483736"/>
              <pc:sldLayoutMk cId="2190780454" sldId="2147483746"/>
              <ac:picMk id="5" creationId="{CD32A676-E4FC-5EF6-18DF-FDF6E74BE224}"/>
            </ac:picMkLst>
          </pc:picChg>
          <pc:picChg chg="del">
            <ac:chgData name="Trauer" userId="aa8b9dc3-a64d-4cc6-bd4f-f46eb5f096c9" providerId="ADAL" clId="{5B76CEF1-A6E3-49E3-8F70-F81E9495ECB4}" dt="2023-08-14T16:04:39.901" v="2705" actId="478"/>
            <ac:picMkLst>
              <pc:docMk/>
              <pc:sldMasterMk cId="2655679949" sldId="2147483736"/>
              <pc:sldLayoutMk cId="2190780454" sldId="2147483746"/>
              <ac:picMk id="6" creationId="{3EE82C17-9C40-94A7-CD02-C6D4F139E945}"/>
            </ac:picMkLst>
          </pc:picChg>
          <pc:picChg chg="del">
            <ac:chgData name="Trauer" userId="aa8b9dc3-a64d-4cc6-bd4f-f46eb5f096c9" providerId="ADAL" clId="{5B76CEF1-A6E3-49E3-8F70-F81E9495ECB4}" dt="2023-08-14T14:56:31.797" v="2195" actId="478"/>
            <ac:picMkLst>
              <pc:docMk/>
              <pc:sldMasterMk cId="2655679949" sldId="2147483736"/>
              <pc:sldLayoutMk cId="2190780454" sldId="2147483746"/>
              <ac:picMk id="7" creationId="{3C0D9401-764E-3013-A773-E54994386C2E}"/>
            </ac:picMkLst>
          </pc:picChg>
          <pc:picChg chg="del">
            <ac:chgData name="Trauer" userId="aa8b9dc3-a64d-4cc6-bd4f-f46eb5f096c9" providerId="ADAL" clId="{5B76CEF1-A6E3-49E3-8F70-F81E9495ECB4}" dt="2023-08-14T14:56:34.182" v="2196" actId="478"/>
            <ac:picMkLst>
              <pc:docMk/>
              <pc:sldMasterMk cId="2655679949" sldId="2147483736"/>
              <pc:sldLayoutMk cId="2190780454" sldId="2147483746"/>
              <ac:picMk id="8" creationId="{FC284A33-4B6C-471D-C386-4461E30C8925}"/>
            </ac:picMkLst>
          </pc:picChg>
        </pc:sldLayoutChg>
        <pc:sldLayoutChg chg="addSp delSp modSp add del mod">
          <pc:chgData name="Trauer" userId="aa8b9dc3-a64d-4cc6-bd4f-f46eb5f096c9" providerId="ADAL" clId="{5B76CEF1-A6E3-49E3-8F70-F81E9495ECB4}" dt="2023-08-14T16:59:09.714" v="3393" actId="478"/>
          <pc:sldLayoutMkLst>
            <pc:docMk/>
            <pc:sldMasterMk cId="2655679949" sldId="2147483736"/>
            <pc:sldLayoutMk cId="80047101" sldId="2147483747"/>
          </pc:sldLayoutMkLst>
          <pc:spChg chg="del mod">
            <ac:chgData name="Trauer" userId="aa8b9dc3-a64d-4cc6-bd4f-f46eb5f096c9" providerId="ADAL" clId="{5B76CEF1-A6E3-49E3-8F70-F81E9495ECB4}" dt="2023-08-14T16:07:22.905" v="2732" actId="478"/>
            <ac:spMkLst>
              <pc:docMk/>
              <pc:sldMasterMk cId="2655679949" sldId="2147483736"/>
              <pc:sldLayoutMk cId="80047101" sldId="2147483747"/>
              <ac:spMk id="2" creationId="{2C900378-EF88-67B4-65A3-A0B1F162F4B9}"/>
            </ac:spMkLst>
          </pc:spChg>
          <pc:spChg chg="add mod">
            <ac:chgData name="Trauer" userId="aa8b9dc3-a64d-4cc6-bd4f-f46eb5f096c9" providerId="ADAL" clId="{5B76CEF1-A6E3-49E3-8F70-F81E9495ECB4}" dt="2023-08-14T16:07:34.417" v="2758" actId="20577"/>
            <ac:spMkLst>
              <pc:docMk/>
              <pc:sldMasterMk cId="2655679949" sldId="2147483736"/>
              <pc:sldLayoutMk cId="80047101" sldId="2147483747"/>
              <ac:spMk id="3" creationId="{C87A66D9-0E62-5149-B731-3D40F5A61825}"/>
            </ac:spMkLst>
          </pc:spChg>
          <pc:spChg chg="add del mod ord">
            <ac:chgData name="Trauer" userId="aa8b9dc3-a64d-4cc6-bd4f-f46eb5f096c9" providerId="ADAL" clId="{5B76CEF1-A6E3-49E3-8F70-F81E9495ECB4}" dt="2023-08-14T16:59:09.714" v="3393" actId="478"/>
            <ac:spMkLst>
              <pc:docMk/>
              <pc:sldMasterMk cId="2655679949" sldId="2147483736"/>
              <pc:sldLayoutMk cId="80047101" sldId="2147483747"/>
              <ac:spMk id="8" creationId="{B1BC92FD-F60D-58E6-3F66-389CD2FC8A47}"/>
            </ac:spMkLst>
          </pc:spChg>
          <pc:spChg chg="add mod ord">
            <ac:chgData name="Trauer" userId="aa8b9dc3-a64d-4cc6-bd4f-f46eb5f096c9" providerId="ADAL" clId="{5B76CEF1-A6E3-49E3-8F70-F81E9495ECB4}" dt="2023-08-14T15:06:49.816" v="2316" actId="167"/>
            <ac:spMkLst>
              <pc:docMk/>
              <pc:sldMasterMk cId="2655679949" sldId="2147483736"/>
              <pc:sldLayoutMk cId="80047101" sldId="2147483747"/>
              <ac:spMk id="9" creationId="{AECA17F6-8EA8-DD55-B3F4-1FA9C5C6925A}"/>
            </ac:spMkLst>
          </pc:spChg>
          <pc:spChg chg="add mod">
            <ac:chgData name="Trauer" userId="aa8b9dc3-a64d-4cc6-bd4f-f46eb5f096c9" providerId="ADAL" clId="{5B76CEF1-A6E3-49E3-8F70-F81E9495ECB4}" dt="2023-08-14T15:07:31.293" v="2327"/>
            <ac:spMkLst>
              <pc:docMk/>
              <pc:sldMasterMk cId="2655679949" sldId="2147483736"/>
              <pc:sldLayoutMk cId="80047101" sldId="2147483747"/>
              <ac:spMk id="10" creationId="{51654EDD-4ECD-0D0B-D09A-63BB00E9EF70}"/>
            </ac:spMkLst>
          </pc:spChg>
          <pc:spChg chg="add mod">
            <ac:chgData name="Trauer" userId="aa8b9dc3-a64d-4cc6-bd4f-f46eb5f096c9" providerId="ADAL" clId="{5B76CEF1-A6E3-49E3-8F70-F81E9495ECB4}" dt="2023-08-14T15:07:31.293" v="2327"/>
            <ac:spMkLst>
              <pc:docMk/>
              <pc:sldMasterMk cId="2655679949" sldId="2147483736"/>
              <pc:sldLayoutMk cId="80047101" sldId="2147483747"/>
              <ac:spMk id="11" creationId="{A7DA4A37-7BE3-D7E1-6544-501290640E8E}"/>
            </ac:spMkLst>
          </pc:spChg>
          <pc:spChg chg="add mod">
            <ac:chgData name="Trauer" userId="aa8b9dc3-a64d-4cc6-bd4f-f46eb5f096c9" providerId="ADAL" clId="{5B76CEF1-A6E3-49E3-8F70-F81E9495ECB4}" dt="2023-08-14T15:07:31.293" v="2327"/>
            <ac:spMkLst>
              <pc:docMk/>
              <pc:sldMasterMk cId="2655679949" sldId="2147483736"/>
              <pc:sldLayoutMk cId="80047101" sldId="2147483747"/>
              <ac:spMk id="12" creationId="{94DD086A-3AE6-0DFF-B6B8-BD442DA829E7}"/>
            </ac:spMkLst>
          </pc:spChg>
          <pc:spChg chg="add mod">
            <ac:chgData name="Trauer" userId="aa8b9dc3-a64d-4cc6-bd4f-f46eb5f096c9" providerId="ADAL" clId="{5B76CEF1-A6E3-49E3-8F70-F81E9495ECB4}" dt="2023-08-14T15:24:34.383" v="2583"/>
            <ac:spMkLst>
              <pc:docMk/>
              <pc:sldMasterMk cId="2655679949" sldId="2147483736"/>
              <pc:sldLayoutMk cId="80047101" sldId="2147483747"/>
              <ac:spMk id="13" creationId="{70557FDF-492C-6316-A09C-0144A28E81E9}"/>
            </ac:spMkLst>
          </pc:spChg>
          <pc:picChg chg="del">
            <ac:chgData name="Trauer" userId="aa8b9dc3-a64d-4cc6-bd4f-f46eb5f096c9" providerId="ADAL" clId="{5B76CEF1-A6E3-49E3-8F70-F81E9495ECB4}" dt="2023-08-14T14:56:40.578" v="2197" actId="478"/>
            <ac:picMkLst>
              <pc:docMk/>
              <pc:sldMasterMk cId="2655679949" sldId="2147483736"/>
              <pc:sldLayoutMk cId="80047101" sldId="2147483747"/>
              <ac:picMk id="3" creationId="{1D2D7A52-B783-33AE-5D90-861D7FA32170}"/>
            </ac:picMkLst>
          </pc:picChg>
          <pc:picChg chg="del">
            <ac:chgData name="Trauer" userId="aa8b9dc3-a64d-4cc6-bd4f-f46eb5f096c9" providerId="ADAL" clId="{5B76CEF1-A6E3-49E3-8F70-F81E9495ECB4}" dt="2023-08-14T14:56:40.578" v="2197" actId="478"/>
            <ac:picMkLst>
              <pc:docMk/>
              <pc:sldMasterMk cId="2655679949" sldId="2147483736"/>
              <pc:sldLayoutMk cId="80047101" sldId="2147483747"/>
              <ac:picMk id="4" creationId="{840FFD91-3C2B-4D90-FB72-42D78C504248}"/>
            </ac:picMkLst>
          </pc:picChg>
          <pc:picChg chg="add mod">
            <ac:chgData name="Trauer" userId="aa8b9dc3-a64d-4cc6-bd4f-f46eb5f096c9" providerId="ADAL" clId="{5B76CEF1-A6E3-49E3-8F70-F81E9495ECB4}" dt="2023-08-14T16:08:23.296" v="2761" actId="14826"/>
            <ac:picMkLst>
              <pc:docMk/>
              <pc:sldMasterMk cId="2655679949" sldId="2147483736"/>
              <pc:sldLayoutMk cId="80047101" sldId="2147483747"/>
              <ac:picMk id="4" creationId="{C2CC5B05-CA43-4292-EA0A-680E281F37A6}"/>
            </ac:picMkLst>
          </pc:picChg>
          <pc:picChg chg="del">
            <ac:chgData name="Trauer" userId="aa8b9dc3-a64d-4cc6-bd4f-f46eb5f096c9" providerId="ADAL" clId="{5B76CEF1-A6E3-49E3-8F70-F81E9495ECB4}" dt="2023-08-14T14:56:40.578" v="2197" actId="478"/>
            <ac:picMkLst>
              <pc:docMk/>
              <pc:sldMasterMk cId="2655679949" sldId="2147483736"/>
              <pc:sldLayoutMk cId="80047101" sldId="2147483747"/>
              <ac:picMk id="5" creationId="{07B123E2-C0BA-92CA-7475-B96E39038718}"/>
            </ac:picMkLst>
          </pc:picChg>
          <pc:picChg chg="del">
            <ac:chgData name="Trauer" userId="aa8b9dc3-a64d-4cc6-bd4f-f46eb5f096c9" providerId="ADAL" clId="{5B76CEF1-A6E3-49E3-8F70-F81E9495ECB4}" dt="2023-08-14T14:56:40.578" v="2197" actId="478"/>
            <ac:picMkLst>
              <pc:docMk/>
              <pc:sldMasterMk cId="2655679949" sldId="2147483736"/>
              <pc:sldLayoutMk cId="80047101" sldId="2147483747"/>
              <ac:picMk id="6" creationId="{7E2F9C50-9F1A-7A73-7C29-06445D153514}"/>
            </ac:picMkLst>
          </pc:picChg>
          <pc:picChg chg="del">
            <ac:chgData name="Trauer" userId="aa8b9dc3-a64d-4cc6-bd4f-f46eb5f096c9" providerId="ADAL" clId="{5B76CEF1-A6E3-49E3-8F70-F81E9495ECB4}" dt="2023-08-14T14:56:40.578" v="2197" actId="478"/>
            <ac:picMkLst>
              <pc:docMk/>
              <pc:sldMasterMk cId="2655679949" sldId="2147483736"/>
              <pc:sldLayoutMk cId="80047101" sldId="2147483747"/>
              <ac:picMk id="7" creationId="{E533D90A-BD61-5104-B0C8-5854DE37D7A1}"/>
            </ac:picMkLst>
          </pc:picChg>
        </pc:sldLayoutChg>
        <pc:sldLayoutChg chg="new del mod">
          <pc:chgData name="Trauer" userId="aa8b9dc3-a64d-4cc6-bd4f-f46eb5f096c9" providerId="ADAL" clId="{5B76CEF1-A6E3-49E3-8F70-F81E9495ECB4}" dt="2023-08-14T15:29:51.567" v="2655" actId="2696"/>
          <pc:sldLayoutMkLst>
            <pc:docMk/>
            <pc:sldMasterMk cId="2655679949" sldId="2147483736"/>
            <pc:sldLayoutMk cId="1986239924" sldId="2147483748"/>
          </pc:sldLayoutMkLst>
        </pc:sldLayoutChg>
        <pc:sldLayoutChg chg="modSp add del mod modTransition">
          <pc:chgData name="Trauer" userId="aa8b9dc3-a64d-4cc6-bd4f-f46eb5f096c9" providerId="ADAL" clId="{5B76CEF1-A6E3-49E3-8F70-F81E9495ECB4}" dt="2023-08-14T16:05:34.840" v="2715" actId="2696"/>
          <pc:sldLayoutMkLst>
            <pc:docMk/>
            <pc:sldMasterMk cId="2655679949" sldId="2147483736"/>
            <pc:sldLayoutMk cId="269088024" sldId="2147483749"/>
          </pc:sldLayoutMkLst>
          <pc:spChg chg="mod">
            <ac:chgData name="Trauer" userId="aa8b9dc3-a64d-4cc6-bd4f-f46eb5f096c9" providerId="ADAL" clId="{5B76CEF1-A6E3-49E3-8F70-F81E9495ECB4}" dt="2023-08-14T16:02:30.762" v="2660"/>
            <ac:spMkLst>
              <pc:docMk/>
              <pc:sldMasterMk cId="2655679949" sldId="2147483736"/>
              <pc:sldLayoutMk cId="269088024" sldId="2147483749"/>
              <ac:spMk id="2" creationId="{327F74CA-3A14-0BEE-3A0D-257D5B12E97F}"/>
            </ac:spMkLst>
          </pc:spChg>
        </pc:sldLayoutChg>
      </pc:sldMasterChg>
      <pc:sldMasterChg chg="addSp delSp modSp add mod addSldLayout delSldLayout modSldLayout">
        <pc:chgData name="Trauer" userId="aa8b9dc3-a64d-4cc6-bd4f-f46eb5f096c9" providerId="ADAL" clId="{5B76CEF1-A6E3-49E3-8F70-F81E9495ECB4}" dt="2023-08-14T16:03:35.063" v="2703" actId="2696"/>
        <pc:sldMasterMkLst>
          <pc:docMk/>
          <pc:sldMasterMk cId="2008237766" sldId="2147483752"/>
        </pc:sldMasterMkLst>
        <pc:spChg chg="add del mod ord">
          <ac:chgData name="Trauer" userId="aa8b9dc3-a64d-4cc6-bd4f-f46eb5f096c9" providerId="ADAL" clId="{5B76CEF1-A6E3-49E3-8F70-F81E9495ECB4}" dt="2023-08-14T15:07:51.269" v="2331" actId="21"/>
          <ac:spMkLst>
            <pc:docMk/>
            <pc:sldMasterMk cId="2008237766" sldId="2147483752"/>
            <ac:spMk id="2" creationId="{12AD8155-C8A9-7573-ACE7-F1D9E2F30F41}"/>
          </ac:spMkLst>
        </pc:spChg>
        <pc:spChg chg="add del mod ord">
          <ac:chgData name="Trauer" userId="aa8b9dc3-a64d-4cc6-bd4f-f46eb5f096c9" providerId="ADAL" clId="{5B76CEF1-A6E3-49E3-8F70-F81E9495ECB4}" dt="2023-08-14T15:07:51.269" v="2331" actId="21"/>
          <ac:spMkLst>
            <pc:docMk/>
            <pc:sldMasterMk cId="2008237766" sldId="2147483752"/>
            <ac:spMk id="4" creationId="{B4B4ECBE-970A-87AD-237D-3F735DEBC1F8}"/>
          </ac:spMkLst>
        </pc:spChg>
        <pc:spChg chg="del">
          <ac:chgData name="Trauer" userId="aa8b9dc3-a64d-4cc6-bd4f-f46eb5f096c9" providerId="ADAL" clId="{5B76CEF1-A6E3-49E3-8F70-F81E9495ECB4}" dt="2023-08-14T15:04:11.843" v="2286" actId="21"/>
          <ac:spMkLst>
            <pc:docMk/>
            <pc:sldMasterMk cId="2008237766" sldId="2147483752"/>
            <ac:spMk id="6" creationId="{5BA0A2CE-C65C-42CC-940F-5E3D611FE345}"/>
          </ac:spMkLst>
        </pc:spChg>
        <pc:spChg chg="del">
          <ac:chgData name="Trauer" userId="aa8b9dc3-a64d-4cc6-bd4f-f46eb5f096c9" providerId="ADAL" clId="{5B76CEF1-A6E3-49E3-8F70-F81E9495ECB4}" dt="2023-08-14T15:04:11.843" v="2286" actId="21"/>
          <ac:spMkLst>
            <pc:docMk/>
            <pc:sldMasterMk cId="2008237766" sldId="2147483752"/>
            <ac:spMk id="125" creationId="{7410D19C-C3CC-194D-A249-4AAD36F26397}"/>
          </ac:spMkLst>
        </pc:spChg>
        <pc:spChg chg="del">
          <ac:chgData name="Trauer" userId="aa8b9dc3-a64d-4cc6-bd4f-f46eb5f096c9" providerId="ADAL" clId="{5B76CEF1-A6E3-49E3-8F70-F81E9495ECB4}" dt="2023-08-14T15:07:51.269" v="2331" actId="21"/>
          <ac:spMkLst>
            <pc:docMk/>
            <pc:sldMasterMk cId="2008237766" sldId="2147483752"/>
            <ac:spMk id="137" creationId="{D4152708-DB7B-8499-7D01-8AB9EF7B1FE8}"/>
          </ac:spMkLst>
        </pc:spChg>
        <pc:spChg chg="del">
          <ac:chgData name="Trauer" userId="aa8b9dc3-a64d-4cc6-bd4f-f46eb5f096c9" providerId="ADAL" clId="{5B76CEF1-A6E3-49E3-8F70-F81E9495ECB4}" dt="2023-08-14T15:07:51.269" v="2331" actId="21"/>
          <ac:spMkLst>
            <pc:docMk/>
            <pc:sldMasterMk cId="2008237766" sldId="2147483752"/>
            <ac:spMk id="138" creationId="{1CC7A5EF-760C-CCCD-EB16-BD1A634A1EC7}"/>
          </ac:spMkLst>
        </pc:spChg>
        <pc:spChg chg="del">
          <ac:chgData name="Trauer" userId="aa8b9dc3-a64d-4cc6-bd4f-f46eb5f096c9" providerId="ADAL" clId="{5B76CEF1-A6E3-49E3-8F70-F81E9495ECB4}" dt="2023-08-14T15:07:51.269" v="2331" actId="21"/>
          <ac:spMkLst>
            <pc:docMk/>
            <pc:sldMasterMk cId="2008237766" sldId="2147483752"/>
            <ac:spMk id="139" creationId="{F03610ED-3C5F-FF0E-255B-C03A9D26D598}"/>
          </ac:spMkLst>
        </pc:spChg>
        <pc:picChg chg="add mod">
          <ac:chgData name="Trauer" userId="aa8b9dc3-a64d-4cc6-bd4f-f46eb5f096c9" providerId="ADAL" clId="{5B76CEF1-A6E3-49E3-8F70-F81E9495ECB4}" dt="2023-08-14T15:08:36.629" v="2339"/>
          <ac:picMkLst>
            <pc:docMk/>
            <pc:sldMasterMk cId="2008237766" sldId="2147483752"/>
            <ac:picMk id="5" creationId="{3A7971A7-9E58-B89E-2699-FCC84B07C945}"/>
          </ac:picMkLst>
        </pc:picChg>
        <pc:picChg chg="del">
          <ac:chgData name="Trauer" userId="aa8b9dc3-a64d-4cc6-bd4f-f46eb5f096c9" providerId="ADAL" clId="{5B76CEF1-A6E3-49E3-8F70-F81E9495ECB4}" dt="2023-08-14T15:07:51.269" v="2331" actId="21"/>
          <ac:picMkLst>
            <pc:docMk/>
            <pc:sldMasterMk cId="2008237766" sldId="2147483752"/>
            <ac:picMk id="127" creationId="{3730E0CA-2944-1FB6-EEF8-2D60C2884B96}"/>
          </ac:picMkLst>
        </pc:picChg>
        <pc:sldLayoutChg chg="addSp delSp modSp add mod replId">
          <pc:chgData name="Trauer" userId="aa8b9dc3-a64d-4cc6-bd4f-f46eb5f096c9" providerId="ADAL" clId="{5B76CEF1-A6E3-49E3-8F70-F81E9495ECB4}" dt="2023-08-14T15:24:36.316" v="2584"/>
          <pc:sldLayoutMkLst>
            <pc:docMk/>
            <pc:sldMasterMk cId="2008237766" sldId="2147483752"/>
            <pc:sldLayoutMk cId="1084183195" sldId="2147483753"/>
          </pc:sldLayoutMkLst>
          <pc:spChg chg="add del mod">
            <ac:chgData name="Trauer" userId="aa8b9dc3-a64d-4cc6-bd4f-f46eb5f096c9" providerId="ADAL" clId="{5B76CEF1-A6E3-49E3-8F70-F81E9495ECB4}" dt="2023-08-14T15:07:42.426" v="2328" actId="21"/>
            <ac:spMkLst>
              <pc:docMk/>
              <pc:sldMasterMk cId="2008237766" sldId="2147483752"/>
              <pc:sldLayoutMk cId="1084183195" sldId="2147483753"/>
              <ac:spMk id="2" creationId="{A59026B4-8657-2974-01F7-B583DA618FF5}"/>
            </ac:spMkLst>
          </pc:spChg>
          <pc:spChg chg="add del mod">
            <ac:chgData name="Trauer" userId="aa8b9dc3-a64d-4cc6-bd4f-f46eb5f096c9" providerId="ADAL" clId="{5B76CEF1-A6E3-49E3-8F70-F81E9495ECB4}" dt="2023-08-14T15:07:42.426" v="2328" actId="21"/>
            <ac:spMkLst>
              <pc:docMk/>
              <pc:sldMasterMk cId="2008237766" sldId="2147483752"/>
              <pc:sldLayoutMk cId="1084183195" sldId="2147483753"/>
              <ac:spMk id="3" creationId="{0BCCC409-DD19-E2E3-FAA5-B2629523BB80}"/>
            </ac:spMkLst>
          </pc:spChg>
          <pc:spChg chg="add mod ord">
            <ac:chgData name="Trauer" userId="aa8b9dc3-a64d-4cc6-bd4f-f46eb5f096c9" providerId="ADAL" clId="{5B76CEF1-A6E3-49E3-8F70-F81E9495ECB4}" dt="2023-08-14T15:07:57.375" v="2333" actId="167"/>
            <ac:spMkLst>
              <pc:docMk/>
              <pc:sldMasterMk cId="2008237766" sldId="2147483752"/>
              <pc:sldLayoutMk cId="1084183195" sldId="2147483753"/>
              <ac:spMk id="4" creationId="{2E8E9645-0E62-332C-7B00-E0D510C99002}"/>
            </ac:spMkLst>
          </pc:spChg>
          <pc:spChg chg="add mod ord">
            <ac:chgData name="Trauer" userId="aa8b9dc3-a64d-4cc6-bd4f-f46eb5f096c9" providerId="ADAL" clId="{5B76CEF1-A6E3-49E3-8F70-F81E9495ECB4}" dt="2023-08-14T15:07:57.375" v="2333" actId="167"/>
            <ac:spMkLst>
              <pc:docMk/>
              <pc:sldMasterMk cId="2008237766" sldId="2147483752"/>
              <pc:sldLayoutMk cId="1084183195" sldId="2147483753"/>
              <ac:spMk id="5" creationId="{3E18DDF4-AE7E-B801-10F9-49DAAF524764}"/>
            </ac:spMkLst>
          </pc:spChg>
          <pc:spChg chg="add mod ord">
            <ac:chgData name="Trauer" userId="aa8b9dc3-a64d-4cc6-bd4f-f46eb5f096c9" providerId="ADAL" clId="{5B76CEF1-A6E3-49E3-8F70-F81E9495ECB4}" dt="2023-08-14T15:07:57.375" v="2333" actId="167"/>
            <ac:spMkLst>
              <pc:docMk/>
              <pc:sldMasterMk cId="2008237766" sldId="2147483752"/>
              <pc:sldLayoutMk cId="1084183195" sldId="2147483753"/>
              <ac:spMk id="7" creationId="{AE55D203-15B5-7583-7210-D96B5A40BCC0}"/>
            </ac:spMkLst>
          </pc:spChg>
          <pc:spChg chg="add mod ord">
            <ac:chgData name="Trauer" userId="aa8b9dc3-a64d-4cc6-bd4f-f46eb5f096c9" providerId="ADAL" clId="{5B76CEF1-A6E3-49E3-8F70-F81E9495ECB4}" dt="2023-08-14T15:07:57.375" v="2333" actId="167"/>
            <ac:spMkLst>
              <pc:docMk/>
              <pc:sldMasterMk cId="2008237766" sldId="2147483752"/>
              <pc:sldLayoutMk cId="1084183195" sldId="2147483753"/>
              <ac:spMk id="8" creationId="{DFFDC1D2-5DD3-7FD8-3D07-F6377F925580}"/>
            </ac:spMkLst>
          </pc:spChg>
          <pc:spChg chg="add mod ord">
            <ac:chgData name="Trauer" userId="aa8b9dc3-a64d-4cc6-bd4f-f46eb5f096c9" providerId="ADAL" clId="{5B76CEF1-A6E3-49E3-8F70-F81E9495ECB4}" dt="2023-08-14T15:07:57.375" v="2333" actId="167"/>
            <ac:spMkLst>
              <pc:docMk/>
              <pc:sldMasterMk cId="2008237766" sldId="2147483752"/>
              <pc:sldLayoutMk cId="1084183195" sldId="2147483753"/>
              <ac:spMk id="9" creationId="{46762263-A3CA-9ACB-C3FD-918EDA4F60DE}"/>
            </ac:spMkLst>
          </pc:spChg>
          <pc:spChg chg="add mod">
            <ac:chgData name="Trauer" userId="aa8b9dc3-a64d-4cc6-bd4f-f46eb5f096c9" providerId="ADAL" clId="{5B76CEF1-A6E3-49E3-8F70-F81E9495ECB4}" dt="2023-08-14T15:24:36.316" v="2584"/>
            <ac:spMkLst>
              <pc:docMk/>
              <pc:sldMasterMk cId="2008237766" sldId="2147483752"/>
              <pc:sldLayoutMk cId="1084183195" sldId="2147483753"/>
              <ac:spMk id="10" creationId="{6FB16047-D178-700C-6920-7AEF6EA45EF5}"/>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44" creationId="{1C86D1B5-9BD0-98AE-E50A-D2E9EBB39A36}"/>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45" creationId="{75ABFF2A-1BB1-DD5A-A99C-D53B7E7C61D9}"/>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46" creationId="{102ABAB2-D028-4BAD-A328-95D4B6AF2EFB}"/>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47" creationId="{9A25F30A-F569-37D0-C1F9-5F03919896D1}"/>
            </ac:spMkLst>
          </pc:spChg>
          <pc:spChg chg="del">
            <ac:chgData name="Trauer" userId="aa8b9dc3-a64d-4cc6-bd4f-f46eb5f096c9" providerId="ADAL" clId="{5B76CEF1-A6E3-49E3-8F70-F81E9495ECB4}" dt="2023-08-14T15:02:25.027" v="2222" actId="478"/>
            <ac:spMkLst>
              <pc:docMk/>
              <pc:sldMasterMk cId="2008237766" sldId="2147483752"/>
              <pc:sldLayoutMk cId="1084183195" sldId="2147483753"/>
              <ac:spMk id="148" creationId="{43F6D010-488D-4413-0423-6F590A45CEE6}"/>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49" creationId="{D20CF214-D3A7-959E-E81D-37B19AE8C7CC}"/>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50" creationId="{E29E281B-080C-CE7E-0A76-2C6053DEBD7E}"/>
            </ac:spMkLst>
          </pc:spChg>
          <pc:spChg chg="del">
            <ac:chgData name="Trauer" userId="aa8b9dc3-a64d-4cc6-bd4f-f46eb5f096c9" providerId="ADAL" clId="{5B76CEF1-A6E3-49E3-8F70-F81E9495ECB4}" dt="2023-08-14T15:02:22.859" v="2221" actId="478"/>
            <ac:spMkLst>
              <pc:docMk/>
              <pc:sldMasterMk cId="2008237766" sldId="2147483752"/>
              <pc:sldLayoutMk cId="1084183195" sldId="2147483753"/>
              <ac:spMk id="151" creationId="{D7069550-A490-4F4F-02B7-EDB61B8D15DF}"/>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52" creationId="{F91C613C-5448-C87F-1864-817F4D34ADF7}"/>
            </ac:spMkLst>
          </pc:spChg>
          <pc:spChg chg="mod">
            <ac:chgData name="Trauer" userId="aa8b9dc3-a64d-4cc6-bd4f-f46eb5f096c9" providerId="ADAL" clId="{5B76CEF1-A6E3-49E3-8F70-F81E9495ECB4}" dt="2023-08-14T15:03:27.831" v="2285" actId="1037"/>
            <ac:spMkLst>
              <pc:docMk/>
              <pc:sldMasterMk cId="2008237766" sldId="2147483752"/>
              <pc:sldLayoutMk cId="1084183195" sldId="2147483753"/>
              <ac:spMk id="153" creationId="{B72A9634-9F0D-4511-CC24-668FF1DAE504}"/>
            </ac:spMkLst>
          </pc:spChg>
          <pc:picChg chg="add del mod ord">
            <ac:chgData name="Trauer" userId="aa8b9dc3-a64d-4cc6-bd4f-f46eb5f096c9" providerId="ADAL" clId="{5B76CEF1-A6E3-49E3-8F70-F81E9495ECB4}" dt="2023-08-14T15:08:52.080" v="2341" actId="478"/>
            <ac:picMkLst>
              <pc:docMk/>
              <pc:sldMasterMk cId="2008237766" sldId="2147483752"/>
              <pc:sldLayoutMk cId="1084183195" sldId="2147483753"/>
              <ac:picMk id="6" creationId="{249F9DD6-D0E8-6C3E-AF52-24C76234E6A5}"/>
            </ac:picMkLst>
          </pc:picChg>
        </pc:sldLayoutChg>
        <pc:sldLayoutChg chg="addSp delSp modSp add mod replId">
          <pc:chgData name="Trauer" userId="aa8b9dc3-a64d-4cc6-bd4f-f46eb5f096c9" providerId="ADAL" clId="{5B76CEF1-A6E3-49E3-8F70-F81E9495ECB4}" dt="2023-08-14T16:02:56.712" v="2701"/>
          <pc:sldLayoutMkLst>
            <pc:docMk/>
            <pc:sldMasterMk cId="2008237766" sldId="2147483752"/>
            <pc:sldLayoutMk cId="730293309" sldId="2147483754"/>
          </pc:sldLayoutMkLst>
          <pc:spChg chg="mod">
            <ac:chgData name="Trauer" userId="aa8b9dc3-a64d-4cc6-bd4f-f46eb5f096c9" providerId="ADAL" clId="{5B76CEF1-A6E3-49E3-8F70-F81E9495ECB4}" dt="2023-08-14T16:02:56.712" v="2701"/>
            <ac:spMkLst>
              <pc:docMk/>
              <pc:sldMasterMk cId="2008237766" sldId="2147483752"/>
              <pc:sldLayoutMk cId="730293309" sldId="2147483754"/>
              <ac:spMk id="2" creationId="{83E4DCBF-C8BE-39FC-0809-01F1CB8E1707}"/>
            </ac:spMkLst>
          </pc:spChg>
          <pc:spChg chg="add mod ord">
            <ac:chgData name="Trauer" userId="aa8b9dc3-a64d-4cc6-bd4f-f46eb5f096c9" providerId="ADAL" clId="{5B76CEF1-A6E3-49E3-8F70-F81E9495ECB4}" dt="2023-08-14T15:09:32.610" v="2343" actId="167"/>
            <ac:spMkLst>
              <pc:docMk/>
              <pc:sldMasterMk cId="2008237766" sldId="2147483752"/>
              <pc:sldLayoutMk cId="730293309" sldId="2147483754"/>
              <ac:spMk id="3" creationId="{04955187-4028-1DD5-256A-128A0A815A2F}"/>
            </ac:spMkLst>
          </pc:spChg>
          <pc:spChg chg="add mod ord">
            <ac:chgData name="Trauer" userId="aa8b9dc3-a64d-4cc6-bd4f-f46eb5f096c9" providerId="ADAL" clId="{5B76CEF1-A6E3-49E3-8F70-F81E9495ECB4}" dt="2023-08-14T15:09:32.610" v="2343" actId="167"/>
            <ac:spMkLst>
              <pc:docMk/>
              <pc:sldMasterMk cId="2008237766" sldId="2147483752"/>
              <pc:sldLayoutMk cId="730293309" sldId="2147483754"/>
              <ac:spMk id="5" creationId="{7A746BB7-319F-9289-F10F-F6B5BA51AAD3}"/>
            </ac:spMkLst>
          </pc:spChg>
          <pc:spChg chg="add mod ord">
            <ac:chgData name="Trauer" userId="aa8b9dc3-a64d-4cc6-bd4f-f46eb5f096c9" providerId="ADAL" clId="{5B76CEF1-A6E3-49E3-8F70-F81E9495ECB4}" dt="2023-08-14T15:09:32.610" v="2343" actId="167"/>
            <ac:spMkLst>
              <pc:docMk/>
              <pc:sldMasterMk cId="2008237766" sldId="2147483752"/>
              <pc:sldLayoutMk cId="730293309" sldId="2147483754"/>
              <ac:spMk id="7" creationId="{63665578-C224-7962-8045-C03124DADFC8}"/>
            </ac:spMkLst>
          </pc:spChg>
          <pc:spChg chg="add mod ord">
            <ac:chgData name="Trauer" userId="aa8b9dc3-a64d-4cc6-bd4f-f46eb5f096c9" providerId="ADAL" clId="{5B76CEF1-A6E3-49E3-8F70-F81E9495ECB4}" dt="2023-08-14T15:09:32.610" v="2343" actId="167"/>
            <ac:spMkLst>
              <pc:docMk/>
              <pc:sldMasterMk cId="2008237766" sldId="2147483752"/>
              <pc:sldLayoutMk cId="730293309" sldId="2147483754"/>
              <ac:spMk id="8" creationId="{68216FFB-FA4C-9BE5-56D1-60FFC33A0D30}"/>
            </ac:spMkLst>
          </pc:spChg>
          <pc:spChg chg="add mod ord">
            <ac:chgData name="Trauer" userId="aa8b9dc3-a64d-4cc6-bd4f-f46eb5f096c9" providerId="ADAL" clId="{5B76CEF1-A6E3-49E3-8F70-F81E9495ECB4}" dt="2023-08-14T15:09:32.610" v="2343" actId="167"/>
            <ac:spMkLst>
              <pc:docMk/>
              <pc:sldMasterMk cId="2008237766" sldId="2147483752"/>
              <pc:sldLayoutMk cId="730293309" sldId="2147483754"/>
              <ac:spMk id="9" creationId="{7A825BBD-F42B-145F-A1ED-826CC77F4A3D}"/>
            </ac:spMkLst>
          </pc:spChg>
          <pc:spChg chg="ord">
            <ac:chgData name="Trauer" userId="aa8b9dc3-a64d-4cc6-bd4f-f46eb5f096c9" providerId="ADAL" clId="{5B76CEF1-A6E3-49E3-8F70-F81E9495ECB4}" dt="2023-08-14T15:09:16.302" v="2342" actId="167"/>
            <ac:spMkLst>
              <pc:docMk/>
              <pc:sldMasterMk cId="2008237766" sldId="2147483752"/>
              <pc:sldLayoutMk cId="730293309" sldId="2147483754"/>
              <ac:spMk id="10" creationId="{9BF762B2-4794-C4D2-4EA7-CDF81CF32A8F}"/>
            </ac:spMkLst>
          </pc:spChg>
          <pc:spChg chg="add mod">
            <ac:chgData name="Trauer" userId="aa8b9dc3-a64d-4cc6-bd4f-f46eb5f096c9" providerId="ADAL" clId="{5B76CEF1-A6E3-49E3-8F70-F81E9495ECB4}" dt="2023-08-14T15:24:37.521" v="2585"/>
            <ac:spMkLst>
              <pc:docMk/>
              <pc:sldMasterMk cId="2008237766" sldId="2147483752"/>
              <pc:sldLayoutMk cId="730293309" sldId="2147483754"/>
              <ac:spMk id="11" creationId="{F9C36CE9-F968-E0E5-3C92-9B91F811FE5D}"/>
            </ac:spMkLst>
          </pc:spChg>
          <pc:picChg chg="add del mod ord">
            <ac:chgData name="Trauer" userId="aa8b9dc3-a64d-4cc6-bd4f-f46eb5f096c9" providerId="ADAL" clId="{5B76CEF1-A6E3-49E3-8F70-F81E9495ECB4}" dt="2023-08-14T15:08:33.500" v="2338" actId="21"/>
            <ac:picMkLst>
              <pc:docMk/>
              <pc:sldMasterMk cId="2008237766" sldId="2147483752"/>
              <pc:sldLayoutMk cId="730293309" sldId="2147483754"/>
              <ac:picMk id="6" creationId="{D805DBB3-F15D-6F48-87CB-77A99E7CE576}"/>
            </ac:picMkLst>
          </pc:picChg>
        </pc:sldLayoutChg>
        <pc:sldLayoutChg chg="addSp delSp modSp add del mod replId">
          <pc:chgData name="Trauer" userId="aa8b9dc3-a64d-4cc6-bd4f-f46eb5f096c9" providerId="ADAL" clId="{5B76CEF1-A6E3-49E3-8F70-F81E9495ECB4}" dt="2023-08-14T16:03:27.859" v="2702" actId="2696"/>
          <pc:sldLayoutMkLst>
            <pc:docMk/>
            <pc:sldMasterMk cId="2008237766" sldId="2147483752"/>
            <pc:sldLayoutMk cId="371423310" sldId="2147483755"/>
          </pc:sldLayoutMkLst>
          <pc:spChg chg="add del mod">
            <ac:chgData name="Trauer" userId="aa8b9dc3-a64d-4cc6-bd4f-f46eb5f096c9" providerId="ADAL" clId="{5B76CEF1-A6E3-49E3-8F70-F81E9495ECB4}" dt="2023-08-14T15:08:27.770" v="2337"/>
            <ac:spMkLst>
              <pc:docMk/>
              <pc:sldMasterMk cId="2008237766" sldId="2147483752"/>
              <pc:sldLayoutMk cId="371423310" sldId="2147483755"/>
              <ac:spMk id="3" creationId="{DE8933C0-2AD7-AD58-D484-BB92452AC8F4}"/>
            </ac:spMkLst>
          </pc:spChg>
          <pc:spChg chg="add del mod">
            <ac:chgData name="Trauer" userId="aa8b9dc3-a64d-4cc6-bd4f-f46eb5f096c9" providerId="ADAL" clId="{5B76CEF1-A6E3-49E3-8F70-F81E9495ECB4}" dt="2023-08-14T15:08:27.770" v="2337"/>
            <ac:spMkLst>
              <pc:docMk/>
              <pc:sldMasterMk cId="2008237766" sldId="2147483752"/>
              <pc:sldLayoutMk cId="371423310" sldId="2147483755"/>
              <ac:spMk id="4" creationId="{B0F3C692-00AF-1825-B1C5-2D5E38E238C5}"/>
            </ac:spMkLst>
          </pc:spChg>
          <pc:spChg chg="add del mod">
            <ac:chgData name="Trauer" userId="aa8b9dc3-a64d-4cc6-bd4f-f46eb5f096c9" providerId="ADAL" clId="{5B76CEF1-A6E3-49E3-8F70-F81E9495ECB4}" dt="2023-08-14T15:08:27.770" v="2337"/>
            <ac:spMkLst>
              <pc:docMk/>
              <pc:sldMasterMk cId="2008237766" sldId="2147483752"/>
              <pc:sldLayoutMk cId="371423310" sldId="2147483755"/>
              <ac:spMk id="6" creationId="{A2AC7697-54E2-040C-9130-9DEAB1D54DCE}"/>
            </ac:spMkLst>
          </pc:spChg>
          <pc:spChg chg="add del mod">
            <ac:chgData name="Trauer" userId="aa8b9dc3-a64d-4cc6-bd4f-f46eb5f096c9" providerId="ADAL" clId="{5B76CEF1-A6E3-49E3-8F70-F81E9495ECB4}" dt="2023-08-14T15:08:27.770" v="2337"/>
            <ac:spMkLst>
              <pc:docMk/>
              <pc:sldMasterMk cId="2008237766" sldId="2147483752"/>
              <pc:sldLayoutMk cId="371423310" sldId="2147483755"/>
              <ac:spMk id="7" creationId="{45D9E92D-D2DC-6A8B-1CBC-466EC1A6437D}"/>
            </ac:spMkLst>
          </pc:spChg>
          <pc:spChg chg="add del mod">
            <ac:chgData name="Trauer" userId="aa8b9dc3-a64d-4cc6-bd4f-f46eb5f096c9" providerId="ADAL" clId="{5B76CEF1-A6E3-49E3-8F70-F81E9495ECB4}" dt="2023-08-14T15:08:27.770" v="2337"/>
            <ac:spMkLst>
              <pc:docMk/>
              <pc:sldMasterMk cId="2008237766" sldId="2147483752"/>
              <pc:sldLayoutMk cId="371423310" sldId="2147483755"/>
              <ac:spMk id="8" creationId="{81F05ECF-06D7-8782-EDE7-1C9ED55009DF}"/>
            </ac:spMkLst>
          </pc:spChg>
          <pc:spChg chg="add mod ord">
            <ac:chgData name="Trauer" userId="aa8b9dc3-a64d-4cc6-bd4f-f46eb5f096c9" providerId="ADAL" clId="{5B76CEF1-A6E3-49E3-8F70-F81E9495ECB4}" dt="2023-08-14T15:09:37.123" v="2345" actId="167"/>
            <ac:spMkLst>
              <pc:docMk/>
              <pc:sldMasterMk cId="2008237766" sldId="2147483752"/>
              <pc:sldLayoutMk cId="371423310" sldId="2147483755"/>
              <ac:spMk id="11" creationId="{C630CCF5-4B5F-3F82-DE6D-10422CD5A8A1}"/>
            </ac:spMkLst>
          </pc:spChg>
          <pc:spChg chg="add mod ord">
            <ac:chgData name="Trauer" userId="aa8b9dc3-a64d-4cc6-bd4f-f46eb5f096c9" providerId="ADAL" clId="{5B76CEF1-A6E3-49E3-8F70-F81E9495ECB4}" dt="2023-08-14T15:09:37.123" v="2345" actId="167"/>
            <ac:spMkLst>
              <pc:docMk/>
              <pc:sldMasterMk cId="2008237766" sldId="2147483752"/>
              <pc:sldLayoutMk cId="371423310" sldId="2147483755"/>
              <ac:spMk id="12" creationId="{AB551CAE-A8A8-A110-151D-27F969CEDF9E}"/>
            </ac:spMkLst>
          </pc:spChg>
          <pc:spChg chg="add mod ord">
            <ac:chgData name="Trauer" userId="aa8b9dc3-a64d-4cc6-bd4f-f46eb5f096c9" providerId="ADAL" clId="{5B76CEF1-A6E3-49E3-8F70-F81E9495ECB4}" dt="2023-08-14T15:09:37.123" v="2345" actId="167"/>
            <ac:spMkLst>
              <pc:docMk/>
              <pc:sldMasterMk cId="2008237766" sldId="2147483752"/>
              <pc:sldLayoutMk cId="371423310" sldId="2147483755"/>
              <ac:spMk id="13" creationId="{7B540B59-2349-3B84-31CD-D5EB87A26112}"/>
            </ac:spMkLst>
          </pc:spChg>
          <pc:spChg chg="add mod ord">
            <ac:chgData name="Trauer" userId="aa8b9dc3-a64d-4cc6-bd4f-f46eb5f096c9" providerId="ADAL" clId="{5B76CEF1-A6E3-49E3-8F70-F81E9495ECB4}" dt="2023-08-14T15:09:37.123" v="2345" actId="167"/>
            <ac:spMkLst>
              <pc:docMk/>
              <pc:sldMasterMk cId="2008237766" sldId="2147483752"/>
              <pc:sldLayoutMk cId="371423310" sldId="2147483755"/>
              <ac:spMk id="14" creationId="{AA2DB985-1E88-A0EB-31AF-3C4BEBD956B1}"/>
            </ac:spMkLst>
          </pc:spChg>
          <pc:spChg chg="add mod ord">
            <ac:chgData name="Trauer" userId="aa8b9dc3-a64d-4cc6-bd4f-f46eb5f096c9" providerId="ADAL" clId="{5B76CEF1-A6E3-49E3-8F70-F81E9495ECB4}" dt="2023-08-14T15:09:37.123" v="2345" actId="167"/>
            <ac:spMkLst>
              <pc:docMk/>
              <pc:sldMasterMk cId="2008237766" sldId="2147483752"/>
              <pc:sldLayoutMk cId="371423310" sldId="2147483755"/>
              <ac:spMk id="15" creationId="{0BF00414-3FA7-F5ED-68A8-27D88148252D}"/>
            </ac:spMkLst>
          </pc:spChg>
          <pc:spChg chg="add mod">
            <ac:chgData name="Trauer" userId="aa8b9dc3-a64d-4cc6-bd4f-f46eb5f096c9" providerId="ADAL" clId="{5B76CEF1-A6E3-49E3-8F70-F81E9495ECB4}" dt="2023-08-14T15:24:38.270" v="2586"/>
            <ac:spMkLst>
              <pc:docMk/>
              <pc:sldMasterMk cId="2008237766" sldId="2147483752"/>
              <pc:sldLayoutMk cId="371423310" sldId="2147483755"/>
              <ac:spMk id="16" creationId="{D1311F10-0809-F70C-5954-A830926470B1}"/>
            </ac:spMkLst>
          </pc:spChg>
          <pc:picChg chg="add del mod">
            <ac:chgData name="Trauer" userId="aa8b9dc3-a64d-4cc6-bd4f-f46eb5f096c9" providerId="ADAL" clId="{5B76CEF1-A6E3-49E3-8F70-F81E9495ECB4}" dt="2023-08-14T15:08:27.770" v="2337"/>
            <ac:picMkLst>
              <pc:docMk/>
              <pc:sldMasterMk cId="2008237766" sldId="2147483752"/>
              <pc:sldLayoutMk cId="371423310" sldId="2147483755"/>
              <ac:picMk id="5" creationId="{F40F3DD1-6441-3551-8B22-373F951FA50C}"/>
            </ac:picMkLst>
          </pc:picChg>
        </pc:sldLayoutChg>
        <pc:sldLayoutChg chg="addSp modSp add mod replId">
          <pc:chgData name="Trauer" userId="aa8b9dc3-a64d-4cc6-bd4f-f46eb5f096c9" providerId="ADAL" clId="{5B76CEF1-A6E3-49E3-8F70-F81E9495ECB4}" dt="2023-08-14T15:24:39.375" v="2587"/>
          <pc:sldLayoutMkLst>
            <pc:docMk/>
            <pc:sldMasterMk cId="2008237766" sldId="2147483752"/>
            <pc:sldLayoutMk cId="1578102498" sldId="2147483756"/>
          </pc:sldLayoutMkLst>
          <pc:spChg chg="add mod ord">
            <ac:chgData name="Trauer" userId="aa8b9dc3-a64d-4cc6-bd4f-f46eb5f096c9" providerId="ADAL" clId="{5B76CEF1-A6E3-49E3-8F70-F81E9495ECB4}" dt="2023-08-14T15:09:42.448" v="2347" actId="167"/>
            <ac:spMkLst>
              <pc:docMk/>
              <pc:sldMasterMk cId="2008237766" sldId="2147483752"/>
              <pc:sldLayoutMk cId="1578102498" sldId="2147483756"/>
              <ac:spMk id="2" creationId="{A9D9D2E1-8AC3-2400-DA48-9062FF0860CD}"/>
            </ac:spMkLst>
          </pc:spChg>
          <pc:spChg chg="add mod ord">
            <ac:chgData name="Trauer" userId="aa8b9dc3-a64d-4cc6-bd4f-f46eb5f096c9" providerId="ADAL" clId="{5B76CEF1-A6E3-49E3-8F70-F81E9495ECB4}" dt="2023-08-14T15:09:42.448" v="2347" actId="167"/>
            <ac:spMkLst>
              <pc:docMk/>
              <pc:sldMasterMk cId="2008237766" sldId="2147483752"/>
              <pc:sldLayoutMk cId="1578102498" sldId="2147483756"/>
              <ac:spMk id="4" creationId="{66C9445B-B98C-87D3-D56B-0BBA477164CA}"/>
            </ac:spMkLst>
          </pc:spChg>
          <pc:spChg chg="add mod ord">
            <ac:chgData name="Trauer" userId="aa8b9dc3-a64d-4cc6-bd4f-f46eb5f096c9" providerId="ADAL" clId="{5B76CEF1-A6E3-49E3-8F70-F81E9495ECB4}" dt="2023-08-14T15:09:42.448" v="2347" actId="167"/>
            <ac:spMkLst>
              <pc:docMk/>
              <pc:sldMasterMk cId="2008237766" sldId="2147483752"/>
              <pc:sldLayoutMk cId="1578102498" sldId="2147483756"/>
              <ac:spMk id="5" creationId="{E078185E-9C55-8C69-4985-83BFD5E78886}"/>
            </ac:spMkLst>
          </pc:spChg>
          <pc:spChg chg="add mod ord">
            <ac:chgData name="Trauer" userId="aa8b9dc3-a64d-4cc6-bd4f-f46eb5f096c9" providerId="ADAL" clId="{5B76CEF1-A6E3-49E3-8F70-F81E9495ECB4}" dt="2023-08-14T15:09:42.448" v="2347" actId="167"/>
            <ac:spMkLst>
              <pc:docMk/>
              <pc:sldMasterMk cId="2008237766" sldId="2147483752"/>
              <pc:sldLayoutMk cId="1578102498" sldId="2147483756"/>
              <ac:spMk id="6" creationId="{FF7B0BBC-7401-6872-D06E-F354E4070974}"/>
            </ac:spMkLst>
          </pc:spChg>
          <pc:spChg chg="add mod ord">
            <ac:chgData name="Trauer" userId="aa8b9dc3-a64d-4cc6-bd4f-f46eb5f096c9" providerId="ADAL" clId="{5B76CEF1-A6E3-49E3-8F70-F81E9495ECB4}" dt="2023-08-14T15:09:42.448" v="2347" actId="167"/>
            <ac:spMkLst>
              <pc:docMk/>
              <pc:sldMasterMk cId="2008237766" sldId="2147483752"/>
              <pc:sldLayoutMk cId="1578102498" sldId="2147483756"/>
              <ac:spMk id="7" creationId="{C453BADC-8470-CE18-3329-123CFE0521A4}"/>
            </ac:spMkLst>
          </pc:spChg>
          <pc:spChg chg="add mod">
            <ac:chgData name="Trauer" userId="aa8b9dc3-a64d-4cc6-bd4f-f46eb5f096c9" providerId="ADAL" clId="{5B76CEF1-A6E3-49E3-8F70-F81E9495ECB4}" dt="2023-08-14T15:24:39.375" v="2587"/>
            <ac:spMkLst>
              <pc:docMk/>
              <pc:sldMasterMk cId="2008237766" sldId="2147483752"/>
              <pc:sldLayoutMk cId="1578102498" sldId="2147483756"/>
              <ac:spMk id="9" creationId="{82D02757-20A7-6911-D46B-31FC2C1436A1}"/>
            </ac:spMkLst>
          </pc:spChg>
        </pc:sldLayoutChg>
        <pc:sldLayoutChg chg="addSp modSp add mod replId">
          <pc:chgData name="Trauer" userId="aa8b9dc3-a64d-4cc6-bd4f-f46eb5f096c9" providerId="ADAL" clId="{5B76CEF1-A6E3-49E3-8F70-F81E9495ECB4}" dt="2023-08-14T15:24:41.326" v="2588"/>
          <pc:sldLayoutMkLst>
            <pc:docMk/>
            <pc:sldMasterMk cId="2008237766" sldId="2147483752"/>
            <pc:sldLayoutMk cId="4060701116" sldId="2147483757"/>
          </pc:sldLayoutMkLst>
          <pc:spChg chg="add mod ord">
            <ac:chgData name="Trauer" userId="aa8b9dc3-a64d-4cc6-bd4f-f46eb5f096c9" providerId="ADAL" clId="{5B76CEF1-A6E3-49E3-8F70-F81E9495ECB4}" dt="2023-08-14T15:09:46.854" v="2349" actId="167"/>
            <ac:spMkLst>
              <pc:docMk/>
              <pc:sldMasterMk cId="2008237766" sldId="2147483752"/>
              <pc:sldLayoutMk cId="4060701116" sldId="2147483757"/>
              <ac:spMk id="2" creationId="{1AC546D7-0B98-6691-EB17-22BBF555CD98}"/>
            </ac:spMkLst>
          </pc:spChg>
          <pc:spChg chg="add mod ord">
            <ac:chgData name="Trauer" userId="aa8b9dc3-a64d-4cc6-bd4f-f46eb5f096c9" providerId="ADAL" clId="{5B76CEF1-A6E3-49E3-8F70-F81E9495ECB4}" dt="2023-08-14T15:09:46.854" v="2349" actId="167"/>
            <ac:spMkLst>
              <pc:docMk/>
              <pc:sldMasterMk cId="2008237766" sldId="2147483752"/>
              <pc:sldLayoutMk cId="4060701116" sldId="2147483757"/>
              <ac:spMk id="4" creationId="{AF08DF2A-1EDC-5BF9-0AC2-84F0F5D3F805}"/>
            </ac:spMkLst>
          </pc:spChg>
          <pc:spChg chg="add mod ord">
            <ac:chgData name="Trauer" userId="aa8b9dc3-a64d-4cc6-bd4f-f46eb5f096c9" providerId="ADAL" clId="{5B76CEF1-A6E3-49E3-8F70-F81E9495ECB4}" dt="2023-08-14T15:09:46.854" v="2349" actId="167"/>
            <ac:spMkLst>
              <pc:docMk/>
              <pc:sldMasterMk cId="2008237766" sldId="2147483752"/>
              <pc:sldLayoutMk cId="4060701116" sldId="2147483757"/>
              <ac:spMk id="5" creationId="{41872276-06BC-18BF-4C97-C8754B6D40F3}"/>
            </ac:spMkLst>
          </pc:spChg>
          <pc:spChg chg="add mod ord">
            <ac:chgData name="Trauer" userId="aa8b9dc3-a64d-4cc6-bd4f-f46eb5f096c9" providerId="ADAL" clId="{5B76CEF1-A6E3-49E3-8F70-F81E9495ECB4}" dt="2023-08-14T15:09:46.854" v="2349" actId="167"/>
            <ac:spMkLst>
              <pc:docMk/>
              <pc:sldMasterMk cId="2008237766" sldId="2147483752"/>
              <pc:sldLayoutMk cId="4060701116" sldId="2147483757"/>
              <ac:spMk id="6" creationId="{4BA9EE6F-AC74-3097-9952-6C108A053377}"/>
            </ac:spMkLst>
          </pc:spChg>
          <pc:spChg chg="add mod ord">
            <ac:chgData name="Trauer" userId="aa8b9dc3-a64d-4cc6-bd4f-f46eb5f096c9" providerId="ADAL" clId="{5B76CEF1-A6E3-49E3-8F70-F81E9495ECB4}" dt="2023-08-14T15:09:46.854" v="2349" actId="167"/>
            <ac:spMkLst>
              <pc:docMk/>
              <pc:sldMasterMk cId="2008237766" sldId="2147483752"/>
              <pc:sldLayoutMk cId="4060701116" sldId="2147483757"/>
              <ac:spMk id="7" creationId="{E8586EA5-694D-826F-4CB3-FC2297EDB2BE}"/>
            </ac:spMkLst>
          </pc:spChg>
          <pc:spChg chg="add mod">
            <ac:chgData name="Trauer" userId="aa8b9dc3-a64d-4cc6-bd4f-f46eb5f096c9" providerId="ADAL" clId="{5B76CEF1-A6E3-49E3-8F70-F81E9495ECB4}" dt="2023-08-14T15:24:41.326" v="2588"/>
            <ac:spMkLst>
              <pc:docMk/>
              <pc:sldMasterMk cId="2008237766" sldId="2147483752"/>
              <pc:sldLayoutMk cId="4060701116" sldId="2147483757"/>
              <ac:spMk id="8" creationId="{DDC9F0FA-03C7-A1D9-C619-D03F4893E73D}"/>
            </ac:spMkLst>
          </pc:spChg>
        </pc:sldLayoutChg>
        <pc:sldLayoutChg chg="addSp modSp add del mod replId">
          <pc:chgData name="Trauer" userId="aa8b9dc3-a64d-4cc6-bd4f-f46eb5f096c9" providerId="ADAL" clId="{5B76CEF1-A6E3-49E3-8F70-F81E9495ECB4}" dt="2023-08-14T16:03:35.063" v="2703" actId="2696"/>
          <pc:sldLayoutMkLst>
            <pc:docMk/>
            <pc:sldMasterMk cId="2008237766" sldId="2147483752"/>
            <pc:sldLayoutMk cId="4125257488" sldId="2147483758"/>
          </pc:sldLayoutMkLst>
          <pc:spChg chg="add mod ord">
            <ac:chgData name="Trauer" userId="aa8b9dc3-a64d-4cc6-bd4f-f46eb5f096c9" providerId="ADAL" clId="{5B76CEF1-A6E3-49E3-8F70-F81E9495ECB4}" dt="2023-08-14T15:09:51.963" v="2351" actId="167"/>
            <ac:spMkLst>
              <pc:docMk/>
              <pc:sldMasterMk cId="2008237766" sldId="2147483752"/>
              <pc:sldLayoutMk cId="4125257488" sldId="2147483758"/>
              <ac:spMk id="2" creationId="{B4E41D2E-F5A3-3F89-79F5-6793DDEE4E73}"/>
            </ac:spMkLst>
          </pc:spChg>
          <pc:spChg chg="add mod ord">
            <ac:chgData name="Trauer" userId="aa8b9dc3-a64d-4cc6-bd4f-f46eb5f096c9" providerId="ADAL" clId="{5B76CEF1-A6E3-49E3-8F70-F81E9495ECB4}" dt="2023-08-14T15:09:51.963" v="2351" actId="167"/>
            <ac:spMkLst>
              <pc:docMk/>
              <pc:sldMasterMk cId="2008237766" sldId="2147483752"/>
              <pc:sldLayoutMk cId="4125257488" sldId="2147483758"/>
              <ac:spMk id="4" creationId="{0781FDA6-457D-9374-1E51-E7B6BDA60D85}"/>
            </ac:spMkLst>
          </pc:spChg>
          <pc:spChg chg="add mod ord">
            <ac:chgData name="Trauer" userId="aa8b9dc3-a64d-4cc6-bd4f-f46eb5f096c9" providerId="ADAL" clId="{5B76CEF1-A6E3-49E3-8F70-F81E9495ECB4}" dt="2023-08-14T15:09:51.963" v="2351" actId="167"/>
            <ac:spMkLst>
              <pc:docMk/>
              <pc:sldMasterMk cId="2008237766" sldId="2147483752"/>
              <pc:sldLayoutMk cId="4125257488" sldId="2147483758"/>
              <ac:spMk id="5" creationId="{39587E73-8874-74E6-CF77-8BB938EBC127}"/>
            </ac:spMkLst>
          </pc:spChg>
          <pc:spChg chg="add mod ord">
            <ac:chgData name="Trauer" userId="aa8b9dc3-a64d-4cc6-bd4f-f46eb5f096c9" providerId="ADAL" clId="{5B76CEF1-A6E3-49E3-8F70-F81E9495ECB4}" dt="2023-08-14T15:09:51.963" v="2351" actId="167"/>
            <ac:spMkLst>
              <pc:docMk/>
              <pc:sldMasterMk cId="2008237766" sldId="2147483752"/>
              <pc:sldLayoutMk cId="4125257488" sldId="2147483758"/>
              <ac:spMk id="6" creationId="{0B01137E-D83C-2A35-B931-D75E399BD5D7}"/>
            </ac:spMkLst>
          </pc:spChg>
          <pc:spChg chg="add mod ord">
            <ac:chgData name="Trauer" userId="aa8b9dc3-a64d-4cc6-bd4f-f46eb5f096c9" providerId="ADAL" clId="{5B76CEF1-A6E3-49E3-8F70-F81E9495ECB4}" dt="2023-08-14T15:09:51.963" v="2351" actId="167"/>
            <ac:spMkLst>
              <pc:docMk/>
              <pc:sldMasterMk cId="2008237766" sldId="2147483752"/>
              <pc:sldLayoutMk cId="4125257488" sldId="2147483758"/>
              <ac:spMk id="7" creationId="{6E404F0F-5851-715D-D287-BB8F0A155493}"/>
            </ac:spMkLst>
          </pc:spChg>
          <pc:spChg chg="add mod">
            <ac:chgData name="Trauer" userId="aa8b9dc3-a64d-4cc6-bd4f-f46eb5f096c9" providerId="ADAL" clId="{5B76CEF1-A6E3-49E3-8F70-F81E9495ECB4}" dt="2023-08-14T15:24:42.503" v="2589"/>
            <ac:spMkLst>
              <pc:docMk/>
              <pc:sldMasterMk cId="2008237766" sldId="2147483752"/>
              <pc:sldLayoutMk cId="4125257488" sldId="2147483758"/>
              <ac:spMk id="8" creationId="{EA73F101-3ECA-211E-36C8-DA5ED5BE360C}"/>
            </ac:spMkLst>
          </pc:spChg>
        </pc:sldLayoutChg>
        <pc:sldLayoutChg chg="addSp modSp add mod replId">
          <pc:chgData name="Trauer" userId="aa8b9dc3-a64d-4cc6-bd4f-f46eb5f096c9" providerId="ADAL" clId="{5B76CEF1-A6E3-49E3-8F70-F81E9495ECB4}" dt="2023-08-14T15:24:43.828" v="2590"/>
          <pc:sldLayoutMkLst>
            <pc:docMk/>
            <pc:sldMasterMk cId="2008237766" sldId="2147483752"/>
            <pc:sldLayoutMk cId="4175934613" sldId="2147483759"/>
          </pc:sldLayoutMkLst>
          <pc:spChg chg="add mod ord">
            <ac:chgData name="Trauer" userId="aa8b9dc3-a64d-4cc6-bd4f-f46eb5f096c9" providerId="ADAL" clId="{5B76CEF1-A6E3-49E3-8F70-F81E9495ECB4}" dt="2023-08-14T15:09:57.438" v="2353" actId="167"/>
            <ac:spMkLst>
              <pc:docMk/>
              <pc:sldMasterMk cId="2008237766" sldId="2147483752"/>
              <pc:sldLayoutMk cId="4175934613" sldId="2147483759"/>
              <ac:spMk id="2" creationId="{AE7A415B-C3FE-D9AF-7D6D-ECC0A3C9E421}"/>
            </ac:spMkLst>
          </pc:spChg>
          <pc:spChg chg="add mod ord">
            <ac:chgData name="Trauer" userId="aa8b9dc3-a64d-4cc6-bd4f-f46eb5f096c9" providerId="ADAL" clId="{5B76CEF1-A6E3-49E3-8F70-F81E9495ECB4}" dt="2023-08-14T15:09:57.438" v="2353" actId="167"/>
            <ac:spMkLst>
              <pc:docMk/>
              <pc:sldMasterMk cId="2008237766" sldId="2147483752"/>
              <pc:sldLayoutMk cId="4175934613" sldId="2147483759"/>
              <ac:spMk id="4" creationId="{58C39A38-750A-AD97-BB36-D583C4D67606}"/>
            </ac:spMkLst>
          </pc:spChg>
          <pc:spChg chg="add mod ord">
            <ac:chgData name="Trauer" userId="aa8b9dc3-a64d-4cc6-bd4f-f46eb5f096c9" providerId="ADAL" clId="{5B76CEF1-A6E3-49E3-8F70-F81E9495ECB4}" dt="2023-08-14T15:09:57.438" v="2353" actId="167"/>
            <ac:spMkLst>
              <pc:docMk/>
              <pc:sldMasterMk cId="2008237766" sldId="2147483752"/>
              <pc:sldLayoutMk cId="4175934613" sldId="2147483759"/>
              <ac:spMk id="5" creationId="{CAB26C3B-37FA-6C41-985A-497E1CA417D9}"/>
            </ac:spMkLst>
          </pc:spChg>
          <pc:spChg chg="add mod ord">
            <ac:chgData name="Trauer" userId="aa8b9dc3-a64d-4cc6-bd4f-f46eb5f096c9" providerId="ADAL" clId="{5B76CEF1-A6E3-49E3-8F70-F81E9495ECB4}" dt="2023-08-14T15:09:57.438" v="2353" actId="167"/>
            <ac:spMkLst>
              <pc:docMk/>
              <pc:sldMasterMk cId="2008237766" sldId="2147483752"/>
              <pc:sldLayoutMk cId="4175934613" sldId="2147483759"/>
              <ac:spMk id="7" creationId="{D4827D29-FE05-047F-DB8F-480C14AEEFCD}"/>
            </ac:spMkLst>
          </pc:spChg>
          <pc:spChg chg="add mod ord">
            <ac:chgData name="Trauer" userId="aa8b9dc3-a64d-4cc6-bd4f-f46eb5f096c9" providerId="ADAL" clId="{5B76CEF1-A6E3-49E3-8F70-F81E9495ECB4}" dt="2023-08-14T15:09:57.438" v="2353" actId="167"/>
            <ac:spMkLst>
              <pc:docMk/>
              <pc:sldMasterMk cId="2008237766" sldId="2147483752"/>
              <pc:sldLayoutMk cId="4175934613" sldId="2147483759"/>
              <ac:spMk id="8" creationId="{6E8B824C-21AA-6408-66A6-DE97819ADB48}"/>
            </ac:spMkLst>
          </pc:spChg>
          <pc:spChg chg="add mod">
            <ac:chgData name="Trauer" userId="aa8b9dc3-a64d-4cc6-bd4f-f46eb5f096c9" providerId="ADAL" clId="{5B76CEF1-A6E3-49E3-8F70-F81E9495ECB4}" dt="2023-08-14T15:24:43.828" v="2590"/>
            <ac:spMkLst>
              <pc:docMk/>
              <pc:sldMasterMk cId="2008237766" sldId="2147483752"/>
              <pc:sldLayoutMk cId="4175934613" sldId="2147483759"/>
              <ac:spMk id="9" creationId="{31C1D781-7E96-5D9A-C196-8BFE12018672}"/>
            </ac:spMkLst>
          </pc:spChg>
        </pc:sldLayoutChg>
        <pc:sldLayoutChg chg="addSp modSp add mod replId">
          <pc:chgData name="Trauer" userId="aa8b9dc3-a64d-4cc6-bd4f-f46eb5f096c9" providerId="ADAL" clId="{5B76CEF1-A6E3-49E3-8F70-F81E9495ECB4}" dt="2023-08-14T15:24:45.473" v="2591"/>
          <pc:sldLayoutMkLst>
            <pc:docMk/>
            <pc:sldMasterMk cId="2008237766" sldId="2147483752"/>
            <pc:sldLayoutMk cId="3589918671" sldId="2147483760"/>
          </pc:sldLayoutMkLst>
          <pc:spChg chg="add mod ord">
            <ac:chgData name="Trauer" userId="aa8b9dc3-a64d-4cc6-bd4f-f46eb5f096c9" providerId="ADAL" clId="{5B76CEF1-A6E3-49E3-8F70-F81E9495ECB4}" dt="2023-08-14T15:10:03.470" v="2355" actId="167"/>
            <ac:spMkLst>
              <pc:docMk/>
              <pc:sldMasterMk cId="2008237766" sldId="2147483752"/>
              <pc:sldLayoutMk cId="3589918671" sldId="2147483760"/>
              <ac:spMk id="3" creationId="{3991FD9B-3EF5-5E12-CAB8-BEE7EEEBDCA1}"/>
            </ac:spMkLst>
          </pc:spChg>
          <pc:spChg chg="add mod ord">
            <ac:chgData name="Trauer" userId="aa8b9dc3-a64d-4cc6-bd4f-f46eb5f096c9" providerId="ADAL" clId="{5B76CEF1-A6E3-49E3-8F70-F81E9495ECB4}" dt="2023-08-14T15:10:03.470" v="2355" actId="167"/>
            <ac:spMkLst>
              <pc:docMk/>
              <pc:sldMasterMk cId="2008237766" sldId="2147483752"/>
              <pc:sldLayoutMk cId="3589918671" sldId="2147483760"/>
              <ac:spMk id="4" creationId="{EF807051-F1D2-2CC5-F2B4-E9DAA6632D77}"/>
            </ac:spMkLst>
          </pc:spChg>
          <pc:spChg chg="add mod ord">
            <ac:chgData name="Trauer" userId="aa8b9dc3-a64d-4cc6-bd4f-f46eb5f096c9" providerId="ADAL" clId="{5B76CEF1-A6E3-49E3-8F70-F81E9495ECB4}" dt="2023-08-14T15:10:03.470" v="2355" actId="167"/>
            <ac:spMkLst>
              <pc:docMk/>
              <pc:sldMasterMk cId="2008237766" sldId="2147483752"/>
              <pc:sldLayoutMk cId="3589918671" sldId="2147483760"/>
              <ac:spMk id="5" creationId="{BA5E4E53-4ADF-F126-72F9-DF9F81AD44D5}"/>
            </ac:spMkLst>
          </pc:spChg>
          <pc:spChg chg="add mod ord">
            <ac:chgData name="Trauer" userId="aa8b9dc3-a64d-4cc6-bd4f-f46eb5f096c9" providerId="ADAL" clId="{5B76CEF1-A6E3-49E3-8F70-F81E9495ECB4}" dt="2023-08-14T15:10:03.470" v="2355" actId="167"/>
            <ac:spMkLst>
              <pc:docMk/>
              <pc:sldMasterMk cId="2008237766" sldId="2147483752"/>
              <pc:sldLayoutMk cId="3589918671" sldId="2147483760"/>
              <ac:spMk id="6" creationId="{2236B63D-81F2-0BBD-8D7C-DF333F01D45D}"/>
            </ac:spMkLst>
          </pc:spChg>
          <pc:spChg chg="add mod ord">
            <ac:chgData name="Trauer" userId="aa8b9dc3-a64d-4cc6-bd4f-f46eb5f096c9" providerId="ADAL" clId="{5B76CEF1-A6E3-49E3-8F70-F81E9495ECB4}" dt="2023-08-14T15:10:03.470" v="2355" actId="167"/>
            <ac:spMkLst>
              <pc:docMk/>
              <pc:sldMasterMk cId="2008237766" sldId="2147483752"/>
              <pc:sldLayoutMk cId="3589918671" sldId="2147483760"/>
              <ac:spMk id="7" creationId="{08B6E805-18C9-BE16-F5E6-781AF2F83C37}"/>
            </ac:spMkLst>
          </pc:spChg>
          <pc:spChg chg="add mod">
            <ac:chgData name="Trauer" userId="aa8b9dc3-a64d-4cc6-bd4f-f46eb5f096c9" providerId="ADAL" clId="{5B76CEF1-A6E3-49E3-8F70-F81E9495ECB4}" dt="2023-08-14T15:24:45.473" v="2591"/>
            <ac:spMkLst>
              <pc:docMk/>
              <pc:sldMasterMk cId="2008237766" sldId="2147483752"/>
              <pc:sldLayoutMk cId="3589918671" sldId="2147483760"/>
              <ac:spMk id="9" creationId="{EFC8CCD3-B9F7-C826-7E74-DD563DABA7B3}"/>
            </ac:spMkLst>
          </pc:spChg>
        </pc:sldLayoutChg>
        <pc:sldLayoutChg chg="addSp modSp add mod replId">
          <pc:chgData name="Trauer" userId="aa8b9dc3-a64d-4cc6-bd4f-f46eb5f096c9" providerId="ADAL" clId="{5B76CEF1-A6E3-49E3-8F70-F81E9495ECB4}" dt="2023-08-14T15:24:46.884" v="2592"/>
          <pc:sldLayoutMkLst>
            <pc:docMk/>
            <pc:sldMasterMk cId="2008237766" sldId="2147483752"/>
            <pc:sldLayoutMk cId="3931714277" sldId="2147483761"/>
          </pc:sldLayoutMkLst>
          <pc:spChg chg="add mod ord">
            <ac:chgData name="Trauer" userId="aa8b9dc3-a64d-4cc6-bd4f-f46eb5f096c9" providerId="ADAL" clId="{5B76CEF1-A6E3-49E3-8F70-F81E9495ECB4}" dt="2023-08-14T15:10:10.617" v="2357" actId="167"/>
            <ac:spMkLst>
              <pc:docMk/>
              <pc:sldMasterMk cId="2008237766" sldId="2147483752"/>
              <pc:sldLayoutMk cId="3931714277" sldId="2147483761"/>
              <ac:spMk id="2" creationId="{41B5C1FB-471A-CC49-27FA-A6B846857A12}"/>
            </ac:spMkLst>
          </pc:spChg>
          <pc:spChg chg="add mod ord">
            <ac:chgData name="Trauer" userId="aa8b9dc3-a64d-4cc6-bd4f-f46eb5f096c9" providerId="ADAL" clId="{5B76CEF1-A6E3-49E3-8F70-F81E9495ECB4}" dt="2023-08-14T15:10:10.617" v="2357" actId="167"/>
            <ac:spMkLst>
              <pc:docMk/>
              <pc:sldMasterMk cId="2008237766" sldId="2147483752"/>
              <pc:sldLayoutMk cId="3931714277" sldId="2147483761"/>
              <ac:spMk id="3" creationId="{7059B7A9-82E8-9CAC-2FBB-55C6B6C275D3}"/>
            </ac:spMkLst>
          </pc:spChg>
          <pc:spChg chg="add mod ord">
            <ac:chgData name="Trauer" userId="aa8b9dc3-a64d-4cc6-bd4f-f46eb5f096c9" providerId="ADAL" clId="{5B76CEF1-A6E3-49E3-8F70-F81E9495ECB4}" dt="2023-08-14T15:10:10.617" v="2357" actId="167"/>
            <ac:spMkLst>
              <pc:docMk/>
              <pc:sldMasterMk cId="2008237766" sldId="2147483752"/>
              <pc:sldLayoutMk cId="3931714277" sldId="2147483761"/>
              <ac:spMk id="4" creationId="{24515802-30E9-0709-53A3-768EE77589A6}"/>
            </ac:spMkLst>
          </pc:spChg>
          <pc:spChg chg="add mod ord">
            <ac:chgData name="Trauer" userId="aa8b9dc3-a64d-4cc6-bd4f-f46eb5f096c9" providerId="ADAL" clId="{5B76CEF1-A6E3-49E3-8F70-F81E9495ECB4}" dt="2023-08-14T15:10:10.617" v="2357" actId="167"/>
            <ac:spMkLst>
              <pc:docMk/>
              <pc:sldMasterMk cId="2008237766" sldId="2147483752"/>
              <pc:sldLayoutMk cId="3931714277" sldId="2147483761"/>
              <ac:spMk id="5" creationId="{E227C81E-F2D9-327D-054C-AB6CE7C1E4CB}"/>
            </ac:spMkLst>
          </pc:spChg>
          <pc:spChg chg="add mod ord">
            <ac:chgData name="Trauer" userId="aa8b9dc3-a64d-4cc6-bd4f-f46eb5f096c9" providerId="ADAL" clId="{5B76CEF1-A6E3-49E3-8F70-F81E9495ECB4}" dt="2023-08-14T15:10:10.617" v="2357" actId="167"/>
            <ac:spMkLst>
              <pc:docMk/>
              <pc:sldMasterMk cId="2008237766" sldId="2147483752"/>
              <pc:sldLayoutMk cId="3931714277" sldId="2147483761"/>
              <ac:spMk id="6" creationId="{EAFEB2E5-EA62-2173-F7C0-BA185819022C}"/>
            </ac:spMkLst>
          </pc:spChg>
          <pc:spChg chg="add mod">
            <ac:chgData name="Trauer" userId="aa8b9dc3-a64d-4cc6-bd4f-f46eb5f096c9" providerId="ADAL" clId="{5B76CEF1-A6E3-49E3-8F70-F81E9495ECB4}" dt="2023-08-14T15:24:46.884" v="2592"/>
            <ac:spMkLst>
              <pc:docMk/>
              <pc:sldMasterMk cId="2008237766" sldId="2147483752"/>
              <pc:sldLayoutMk cId="3931714277" sldId="2147483761"/>
              <ac:spMk id="7" creationId="{FDD68198-F8D2-FA1E-696B-D0A8CC156462}"/>
            </ac:spMkLst>
          </pc:spChg>
        </pc:sldLayoutChg>
        <pc:sldLayoutChg chg="addSp modSp add mod replId">
          <pc:chgData name="Trauer" userId="aa8b9dc3-a64d-4cc6-bd4f-f46eb5f096c9" providerId="ADAL" clId="{5B76CEF1-A6E3-49E3-8F70-F81E9495ECB4}" dt="2023-08-14T15:24:48.171" v="2593"/>
          <pc:sldLayoutMkLst>
            <pc:docMk/>
            <pc:sldMasterMk cId="2008237766" sldId="2147483752"/>
            <pc:sldLayoutMk cId="1252659140" sldId="2147483762"/>
          </pc:sldLayoutMkLst>
          <pc:spChg chg="add mod ord">
            <ac:chgData name="Trauer" userId="aa8b9dc3-a64d-4cc6-bd4f-f46eb5f096c9" providerId="ADAL" clId="{5B76CEF1-A6E3-49E3-8F70-F81E9495ECB4}" dt="2023-08-14T15:10:15.988" v="2359" actId="167"/>
            <ac:spMkLst>
              <pc:docMk/>
              <pc:sldMasterMk cId="2008237766" sldId="2147483752"/>
              <pc:sldLayoutMk cId="1252659140" sldId="2147483762"/>
              <ac:spMk id="3" creationId="{F741E95A-8197-8738-4958-7EE3A982D683}"/>
            </ac:spMkLst>
          </pc:spChg>
          <pc:spChg chg="add mod ord">
            <ac:chgData name="Trauer" userId="aa8b9dc3-a64d-4cc6-bd4f-f46eb5f096c9" providerId="ADAL" clId="{5B76CEF1-A6E3-49E3-8F70-F81E9495ECB4}" dt="2023-08-14T15:10:15.988" v="2359" actId="167"/>
            <ac:spMkLst>
              <pc:docMk/>
              <pc:sldMasterMk cId="2008237766" sldId="2147483752"/>
              <pc:sldLayoutMk cId="1252659140" sldId="2147483762"/>
              <ac:spMk id="4" creationId="{6EA7163E-B523-8911-F73A-14E11E6E8741}"/>
            </ac:spMkLst>
          </pc:spChg>
          <pc:spChg chg="add mod ord">
            <ac:chgData name="Trauer" userId="aa8b9dc3-a64d-4cc6-bd4f-f46eb5f096c9" providerId="ADAL" clId="{5B76CEF1-A6E3-49E3-8F70-F81E9495ECB4}" dt="2023-08-14T15:10:15.988" v="2359" actId="167"/>
            <ac:spMkLst>
              <pc:docMk/>
              <pc:sldMasterMk cId="2008237766" sldId="2147483752"/>
              <pc:sldLayoutMk cId="1252659140" sldId="2147483762"/>
              <ac:spMk id="5" creationId="{0E054B21-8E10-2582-A282-D17BE6CDD8EB}"/>
            </ac:spMkLst>
          </pc:spChg>
          <pc:spChg chg="add mod ord">
            <ac:chgData name="Trauer" userId="aa8b9dc3-a64d-4cc6-bd4f-f46eb5f096c9" providerId="ADAL" clId="{5B76CEF1-A6E3-49E3-8F70-F81E9495ECB4}" dt="2023-08-14T15:10:15.988" v="2359" actId="167"/>
            <ac:spMkLst>
              <pc:docMk/>
              <pc:sldMasterMk cId="2008237766" sldId="2147483752"/>
              <pc:sldLayoutMk cId="1252659140" sldId="2147483762"/>
              <ac:spMk id="6" creationId="{618AF174-2C8E-9230-B3EF-AC800914FB32}"/>
            </ac:spMkLst>
          </pc:spChg>
          <pc:spChg chg="add mod ord">
            <ac:chgData name="Trauer" userId="aa8b9dc3-a64d-4cc6-bd4f-f46eb5f096c9" providerId="ADAL" clId="{5B76CEF1-A6E3-49E3-8F70-F81E9495ECB4}" dt="2023-08-14T15:10:15.988" v="2359" actId="167"/>
            <ac:spMkLst>
              <pc:docMk/>
              <pc:sldMasterMk cId="2008237766" sldId="2147483752"/>
              <pc:sldLayoutMk cId="1252659140" sldId="2147483762"/>
              <ac:spMk id="7" creationId="{5823A9EF-DC2C-4FAC-FFD3-19853C1DCE20}"/>
            </ac:spMkLst>
          </pc:spChg>
          <pc:spChg chg="add mod">
            <ac:chgData name="Trauer" userId="aa8b9dc3-a64d-4cc6-bd4f-f46eb5f096c9" providerId="ADAL" clId="{5B76CEF1-A6E3-49E3-8F70-F81E9495ECB4}" dt="2023-08-14T15:24:48.171" v="2593"/>
            <ac:spMkLst>
              <pc:docMk/>
              <pc:sldMasterMk cId="2008237766" sldId="2147483752"/>
              <pc:sldLayoutMk cId="1252659140" sldId="2147483762"/>
              <ac:spMk id="8" creationId="{91113944-A7D3-C2CA-F7F9-F3A08B74FA20}"/>
            </ac:spMkLst>
          </pc:spChg>
        </pc:sldLayoutChg>
      </pc:sldMasterChg>
      <pc:sldMasterChg chg="modSp new del mod addSldLayout delSldLayout">
        <pc:chgData name="Trauer" userId="aa8b9dc3-a64d-4cc6-bd4f-f46eb5f096c9" providerId="ADAL" clId="{5B76CEF1-A6E3-49E3-8F70-F81E9495ECB4}" dt="2023-08-14T15:29:38.588" v="2652" actId="6938"/>
        <pc:sldMasterMkLst>
          <pc:docMk/>
          <pc:sldMasterMk cId="324265032" sldId="2147483763"/>
        </pc:sldMasterMkLst>
        <pc:sldLayoutChg chg="new del replId">
          <pc:chgData name="Trauer" userId="aa8b9dc3-a64d-4cc6-bd4f-f46eb5f096c9" providerId="ADAL" clId="{5B76CEF1-A6E3-49E3-8F70-F81E9495ECB4}" dt="2023-08-14T15:29:38.588" v="2652" actId="6938"/>
          <pc:sldLayoutMkLst>
            <pc:docMk/>
            <pc:sldMasterMk cId="324265032" sldId="2147483763"/>
            <pc:sldLayoutMk cId="809388475" sldId="2147483764"/>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104748671" sldId="2147483765"/>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4284752171" sldId="2147483766"/>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231900909" sldId="2147483767"/>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711137421" sldId="2147483768"/>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2681821032" sldId="2147483769"/>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174221080" sldId="2147483770"/>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831604785" sldId="2147483771"/>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217494676" sldId="2147483772"/>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3872255132" sldId="2147483773"/>
          </pc:sldLayoutMkLst>
        </pc:sldLayoutChg>
        <pc:sldLayoutChg chg="new del replId">
          <pc:chgData name="Trauer" userId="aa8b9dc3-a64d-4cc6-bd4f-f46eb5f096c9" providerId="ADAL" clId="{5B76CEF1-A6E3-49E3-8F70-F81E9495ECB4}" dt="2023-08-14T15:29:38.588" v="2652" actId="6938"/>
          <pc:sldLayoutMkLst>
            <pc:docMk/>
            <pc:sldMasterMk cId="324265032" sldId="2147483763"/>
            <pc:sldLayoutMk cId="1641672784" sldId="2147483774"/>
          </pc:sldLayoutMkLst>
        </pc:sldLayoutChg>
      </pc:sldMasterChg>
      <pc:sldMasterChg chg="add mod addSldLayout delSldLayout modSldLayout">
        <pc:chgData name="Trauer" userId="aa8b9dc3-a64d-4cc6-bd4f-f46eb5f096c9" providerId="ADAL" clId="{5B76CEF1-A6E3-49E3-8F70-F81E9495ECB4}" dt="2023-08-14T16:59:58.173" v="3408"/>
        <pc:sldMasterMkLst>
          <pc:docMk/>
          <pc:sldMasterMk cId="1792399035" sldId="2147483767"/>
        </pc:sldMasterMkLst>
        <pc:sldLayoutChg chg="delSp modSp add mod replId">
          <pc:chgData name="Trauer" userId="aa8b9dc3-a64d-4cc6-bd4f-f46eb5f096c9" providerId="ADAL" clId="{5B76CEF1-A6E3-49E3-8F70-F81E9495ECB4}" dt="2023-08-14T16:48:11.646" v="3280" actId="21"/>
          <pc:sldLayoutMkLst>
            <pc:docMk/>
            <pc:sldMasterMk cId="1792399035" sldId="2147483767"/>
            <pc:sldLayoutMk cId="3452214999" sldId="2147483768"/>
          </pc:sldLayoutMkLst>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44" creationId="{1C86D1B5-9BD0-98AE-E50A-D2E9EBB39A36}"/>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45" creationId="{75ABFF2A-1BB1-DD5A-A99C-D53B7E7C61D9}"/>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46" creationId="{102ABAB2-D028-4BAD-A328-95D4B6AF2EFB}"/>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47" creationId="{9A25F30A-F569-37D0-C1F9-5F03919896D1}"/>
            </ac:spMkLst>
          </pc:spChg>
          <pc:spChg chg="del">
            <ac:chgData name="Trauer" userId="aa8b9dc3-a64d-4cc6-bd4f-f46eb5f096c9" providerId="ADAL" clId="{5B76CEF1-A6E3-49E3-8F70-F81E9495ECB4}" dt="2023-08-14T16:46:39.182" v="3270" actId="478"/>
            <ac:spMkLst>
              <pc:docMk/>
              <pc:sldMasterMk cId="1792399035" sldId="2147483767"/>
              <pc:sldLayoutMk cId="3452214999" sldId="2147483768"/>
              <ac:spMk id="148" creationId="{43F6D010-488D-4413-0423-6F590A45CEE6}"/>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49" creationId="{D20CF214-D3A7-959E-E81D-37B19AE8C7CC}"/>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50" creationId="{E29E281B-080C-CE7E-0A76-2C6053DEBD7E}"/>
            </ac:spMkLst>
          </pc:spChg>
          <pc:spChg chg="del">
            <ac:chgData name="Trauer" userId="aa8b9dc3-a64d-4cc6-bd4f-f46eb5f096c9" providerId="ADAL" clId="{5B76CEF1-A6E3-49E3-8F70-F81E9495ECB4}" dt="2023-08-14T16:46:35.363" v="3269" actId="478"/>
            <ac:spMkLst>
              <pc:docMk/>
              <pc:sldMasterMk cId="1792399035" sldId="2147483767"/>
              <pc:sldLayoutMk cId="3452214999" sldId="2147483768"/>
              <ac:spMk id="151" creationId="{D7069550-A490-4F4F-02B7-EDB61B8D15DF}"/>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52" creationId="{F91C613C-5448-C87F-1864-817F4D34ADF7}"/>
            </ac:spMkLst>
          </pc:spChg>
          <pc:spChg chg="del mod">
            <ac:chgData name="Trauer" userId="aa8b9dc3-a64d-4cc6-bd4f-f46eb5f096c9" providerId="ADAL" clId="{5B76CEF1-A6E3-49E3-8F70-F81E9495ECB4}" dt="2023-08-14T16:48:11.646" v="3280" actId="21"/>
            <ac:spMkLst>
              <pc:docMk/>
              <pc:sldMasterMk cId="1792399035" sldId="2147483767"/>
              <pc:sldLayoutMk cId="3452214999" sldId="2147483768"/>
              <ac:spMk id="153" creationId="{B72A9634-9F0D-4511-CC24-668FF1DAE504}"/>
            </ac:spMkLst>
          </pc:spChg>
          <pc:spChg chg="del">
            <ac:chgData name="Trauer" userId="aa8b9dc3-a64d-4cc6-bd4f-f46eb5f096c9" providerId="ADAL" clId="{5B76CEF1-A6E3-49E3-8F70-F81E9495ECB4}" dt="2023-08-14T16:48:11.646" v="3280" actId="21"/>
            <ac:spMkLst>
              <pc:docMk/>
              <pc:sldMasterMk cId="1792399035" sldId="2147483767"/>
              <pc:sldLayoutMk cId="3452214999" sldId="2147483768"/>
              <ac:spMk id="155" creationId="{8D0BB575-1C8C-0C44-56CA-39A5CAB16DB9}"/>
            </ac:spMkLst>
          </pc:spChg>
        </pc:sldLayoutChg>
        <pc:sldLayoutChg chg="delSp add mod replId">
          <pc:chgData name="Trauer" userId="aa8b9dc3-a64d-4cc6-bd4f-f46eb5f096c9" providerId="ADAL" clId="{5B76CEF1-A6E3-49E3-8F70-F81E9495ECB4}" dt="2023-08-14T16:56:25.406" v="3380" actId="478"/>
          <pc:sldLayoutMkLst>
            <pc:docMk/>
            <pc:sldMasterMk cId="1792399035" sldId="2147483767"/>
            <pc:sldLayoutMk cId="517403779" sldId="2147483769"/>
          </pc:sldLayoutMkLst>
          <pc:spChg chg="del">
            <ac:chgData name="Trauer" userId="aa8b9dc3-a64d-4cc6-bd4f-f46eb5f096c9" providerId="ADAL" clId="{5B76CEF1-A6E3-49E3-8F70-F81E9495ECB4}" dt="2023-08-14T16:56:25.406" v="3380" actId="478"/>
            <ac:spMkLst>
              <pc:docMk/>
              <pc:sldMasterMk cId="1792399035" sldId="2147483767"/>
              <pc:sldLayoutMk cId="517403779" sldId="2147483769"/>
              <ac:spMk id="72" creationId="{775DFFC3-571A-FF64-3205-91AF5F6795F2}"/>
            </ac:spMkLst>
          </pc:spChg>
        </pc:sldLayoutChg>
        <pc:sldLayoutChg chg="add del mod replId">
          <pc:chgData name="Trauer" userId="aa8b9dc3-a64d-4cc6-bd4f-f46eb5f096c9" providerId="ADAL" clId="{5B76CEF1-A6E3-49E3-8F70-F81E9495ECB4}" dt="2023-08-14T16:09:00.087" v="2764" actId="2696"/>
          <pc:sldLayoutMkLst>
            <pc:docMk/>
            <pc:sldMasterMk cId="1792399035" sldId="2147483767"/>
            <pc:sldLayoutMk cId="778655755" sldId="2147483770"/>
          </pc:sldLayoutMkLst>
        </pc:sldLayoutChg>
        <pc:sldLayoutChg chg="addSp delSp modSp add mod replId">
          <pc:chgData name="Trauer" userId="aa8b9dc3-a64d-4cc6-bd4f-f46eb5f096c9" providerId="ADAL" clId="{5B76CEF1-A6E3-49E3-8F70-F81E9495ECB4}" dt="2023-08-14T16:59:52.488" v="3406"/>
          <pc:sldLayoutMkLst>
            <pc:docMk/>
            <pc:sldMasterMk cId="1792399035" sldId="2147483767"/>
            <pc:sldLayoutMk cId="2413369814" sldId="2147483771"/>
          </pc:sldLayoutMkLst>
          <pc:spChg chg="add mod">
            <ac:chgData name="Trauer" userId="aa8b9dc3-a64d-4cc6-bd4f-f46eb5f096c9" providerId="ADAL" clId="{5B76CEF1-A6E3-49E3-8F70-F81E9495ECB4}" dt="2023-08-14T16:59:52.488" v="3406"/>
            <ac:spMkLst>
              <pc:docMk/>
              <pc:sldMasterMk cId="1792399035" sldId="2147483767"/>
              <pc:sldLayoutMk cId="2413369814" sldId="2147483771"/>
              <ac:spMk id="3" creationId="{B155DD84-F64A-ED80-64C7-1374F5E65C0B}"/>
            </ac:spMkLst>
          </pc:spChg>
          <pc:spChg chg="del">
            <ac:chgData name="Trauer" userId="aa8b9dc3-a64d-4cc6-bd4f-f46eb5f096c9" providerId="ADAL" clId="{5B76CEF1-A6E3-49E3-8F70-F81E9495ECB4}" dt="2023-08-14T16:56:22.699" v="3379" actId="478"/>
            <ac:spMkLst>
              <pc:docMk/>
              <pc:sldMasterMk cId="1792399035" sldId="2147483767"/>
              <pc:sldLayoutMk cId="2413369814" sldId="2147483771"/>
              <ac:spMk id="10" creationId="{9F6FF458-38E1-A77C-B3AE-C2CC9F410B91}"/>
            </ac:spMkLst>
          </pc:spChg>
        </pc:sldLayoutChg>
        <pc:sldLayoutChg chg="addSp delSp modSp add mod replId">
          <pc:chgData name="Trauer" userId="aa8b9dc3-a64d-4cc6-bd4f-f46eb5f096c9" providerId="ADAL" clId="{5B76CEF1-A6E3-49E3-8F70-F81E9495ECB4}" dt="2023-08-14T16:59:56.049" v="3407"/>
          <pc:sldLayoutMkLst>
            <pc:docMk/>
            <pc:sldMasterMk cId="1792399035" sldId="2147483767"/>
            <pc:sldLayoutMk cId="545930906" sldId="2147483772"/>
          </pc:sldLayoutMkLst>
          <pc:spChg chg="add mod">
            <ac:chgData name="Trauer" userId="aa8b9dc3-a64d-4cc6-bd4f-f46eb5f096c9" providerId="ADAL" clId="{5B76CEF1-A6E3-49E3-8F70-F81E9495ECB4}" dt="2023-08-14T16:59:56.049" v="3407"/>
            <ac:spMkLst>
              <pc:docMk/>
              <pc:sldMasterMk cId="1792399035" sldId="2147483767"/>
              <pc:sldLayoutMk cId="545930906" sldId="2147483772"/>
              <ac:spMk id="2" creationId="{FBADC74E-71CC-52AC-9336-748E8B0AD248}"/>
            </ac:spMkLst>
          </pc:spChg>
          <pc:spChg chg="del">
            <ac:chgData name="Trauer" userId="aa8b9dc3-a64d-4cc6-bd4f-f46eb5f096c9" providerId="ADAL" clId="{5B76CEF1-A6E3-49E3-8F70-F81E9495ECB4}" dt="2023-08-14T16:56:21.006" v="3378" actId="478"/>
            <ac:spMkLst>
              <pc:docMk/>
              <pc:sldMasterMk cId="1792399035" sldId="2147483767"/>
              <pc:sldLayoutMk cId="545930906" sldId="2147483772"/>
              <ac:spMk id="10" creationId="{17399AD9-05BE-3E7A-A5CB-1E81FAC0D725}"/>
            </ac:spMkLst>
          </pc:spChg>
        </pc:sldLayoutChg>
        <pc:sldLayoutChg chg="add del mod replId">
          <pc:chgData name="Trauer" userId="aa8b9dc3-a64d-4cc6-bd4f-f46eb5f096c9" providerId="ADAL" clId="{5B76CEF1-A6E3-49E3-8F70-F81E9495ECB4}" dt="2023-08-14T16:09:06.169" v="2765" actId="2696"/>
          <pc:sldLayoutMkLst>
            <pc:docMk/>
            <pc:sldMasterMk cId="1792399035" sldId="2147483767"/>
            <pc:sldLayoutMk cId="3402643044" sldId="2147483773"/>
          </pc:sldLayoutMkLst>
        </pc:sldLayoutChg>
        <pc:sldLayoutChg chg="addSp delSp modSp add mod replId">
          <pc:chgData name="Trauer" userId="aa8b9dc3-a64d-4cc6-bd4f-f46eb5f096c9" providerId="ADAL" clId="{5B76CEF1-A6E3-49E3-8F70-F81E9495ECB4}" dt="2023-08-14T16:59:58.173" v="3408"/>
          <pc:sldLayoutMkLst>
            <pc:docMk/>
            <pc:sldMasterMk cId="1792399035" sldId="2147483767"/>
            <pc:sldLayoutMk cId="3682519279" sldId="2147483774"/>
          </pc:sldLayoutMkLst>
          <pc:spChg chg="add mod">
            <ac:chgData name="Trauer" userId="aa8b9dc3-a64d-4cc6-bd4f-f46eb5f096c9" providerId="ADAL" clId="{5B76CEF1-A6E3-49E3-8F70-F81E9495ECB4}" dt="2023-08-14T16:59:58.173" v="3408"/>
            <ac:spMkLst>
              <pc:docMk/>
              <pc:sldMasterMk cId="1792399035" sldId="2147483767"/>
              <pc:sldLayoutMk cId="3682519279" sldId="2147483774"/>
              <ac:spMk id="3" creationId="{836E8DF0-86EE-812B-41C8-C95950EC2DBC}"/>
            </ac:spMkLst>
          </pc:spChg>
          <pc:spChg chg="del">
            <ac:chgData name="Trauer" userId="aa8b9dc3-a64d-4cc6-bd4f-f46eb5f096c9" providerId="ADAL" clId="{5B76CEF1-A6E3-49E3-8F70-F81E9495ECB4}" dt="2023-08-14T16:56:19.617" v="3377" actId="478"/>
            <ac:spMkLst>
              <pc:docMk/>
              <pc:sldMasterMk cId="1792399035" sldId="2147483767"/>
              <pc:sldLayoutMk cId="3682519279" sldId="2147483774"/>
              <ac:spMk id="10" creationId="{7D2AA9B6-0AE1-E05B-74A3-E39DA58C7C8B}"/>
            </ac:spMkLst>
          </pc:spChg>
        </pc:sldLayoutChg>
        <pc:sldLayoutChg chg="addSp delSp modSp add mod replId">
          <pc:chgData name="Trauer" userId="aa8b9dc3-a64d-4cc6-bd4f-f46eb5f096c9" providerId="ADAL" clId="{5B76CEF1-A6E3-49E3-8F70-F81E9495ECB4}" dt="2023-08-14T16:57:40.386" v="3389" actId="113"/>
          <pc:sldLayoutMkLst>
            <pc:docMk/>
            <pc:sldMasterMk cId="1792399035" sldId="2147483767"/>
            <pc:sldLayoutMk cId="2860168405" sldId="2147483775"/>
          </pc:sldLayoutMkLst>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3" creationId="{107463A0-C95F-7B9F-DC7E-6CF0D54F2AA0}"/>
            </ac:spMkLst>
          </pc:spChg>
          <pc:spChg chg="del">
            <ac:chgData name="Trauer" userId="aa8b9dc3-a64d-4cc6-bd4f-f46eb5f096c9" providerId="ADAL" clId="{5B76CEF1-A6E3-49E3-8F70-F81E9495ECB4}" dt="2023-08-14T16:56:12.279" v="3374" actId="478"/>
            <ac:spMkLst>
              <pc:docMk/>
              <pc:sldMasterMk cId="1792399035" sldId="2147483767"/>
              <pc:sldLayoutMk cId="2860168405" sldId="2147483775"/>
              <ac:spMk id="9" creationId="{9C2B4F54-2160-A8A0-7C9F-DFA677B3F0E1}"/>
            </ac:spMkLst>
          </pc:spChg>
          <pc:spChg chg="mod">
            <ac:chgData name="Trauer" userId="aa8b9dc3-a64d-4cc6-bd4f-f46eb5f096c9" providerId="ADAL" clId="{5B76CEF1-A6E3-49E3-8F70-F81E9495ECB4}" dt="2023-08-14T16:57:40.386" v="3389" actId="113"/>
            <ac:spMkLst>
              <pc:docMk/>
              <pc:sldMasterMk cId="1792399035" sldId="2147483767"/>
              <pc:sldLayoutMk cId="2860168405" sldId="2147483775"/>
              <ac:spMk id="11" creationId="{BC46862B-6348-8EC5-F6AA-701D7F6F27FD}"/>
            </ac:spMkLst>
          </pc:spChg>
          <pc:spChg chg="mod">
            <ac:chgData name="Trauer" userId="aa8b9dc3-a64d-4cc6-bd4f-f46eb5f096c9" providerId="ADAL" clId="{5B76CEF1-A6E3-49E3-8F70-F81E9495ECB4}" dt="2023-08-14T16:57:40.386" v="3389" actId="113"/>
            <ac:spMkLst>
              <pc:docMk/>
              <pc:sldMasterMk cId="1792399035" sldId="2147483767"/>
              <pc:sldLayoutMk cId="2860168405" sldId="2147483775"/>
              <ac:spMk id="12" creationId="{34CDBCD8-80C4-02EF-E48D-F4DFC9F9A5D6}"/>
            </ac:spMkLst>
          </pc:spChg>
          <pc:spChg chg="mod">
            <ac:chgData name="Trauer" userId="aa8b9dc3-a64d-4cc6-bd4f-f46eb5f096c9" providerId="ADAL" clId="{5B76CEF1-A6E3-49E3-8F70-F81E9495ECB4}" dt="2023-08-14T16:57:40.386" v="3389" actId="113"/>
            <ac:spMkLst>
              <pc:docMk/>
              <pc:sldMasterMk cId="1792399035" sldId="2147483767"/>
              <pc:sldLayoutMk cId="2860168405" sldId="2147483775"/>
              <ac:spMk id="13" creationId="{5071FA5C-D937-2E89-198F-0497E528DBD6}"/>
            </ac:spMkLst>
          </pc:spChg>
          <pc:spChg chg="mod">
            <ac:chgData name="Trauer" userId="aa8b9dc3-a64d-4cc6-bd4f-f46eb5f096c9" providerId="ADAL" clId="{5B76CEF1-A6E3-49E3-8F70-F81E9495ECB4}" dt="2023-08-14T16:57:40.386" v="3389" actId="113"/>
            <ac:spMkLst>
              <pc:docMk/>
              <pc:sldMasterMk cId="1792399035" sldId="2147483767"/>
              <pc:sldLayoutMk cId="2860168405" sldId="2147483775"/>
              <ac:spMk id="14" creationId="{E774FD7B-960E-2237-5156-8F9BFD97F9A0}"/>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2" creationId="{78A47344-DE42-841A-4B95-23088CDF7DF7}"/>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3" creationId="{5105F75C-983B-B15E-1951-171CAEAFAE2E}"/>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4" creationId="{5F2E835D-4FF2-5F51-261A-E290EFB7D685}"/>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5" creationId="{9ADFA785-9BE1-E4E7-84E0-833573F8E483}"/>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6" creationId="{A19C760A-899D-C5AA-B72B-0EC0BBE0F147}"/>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7" creationId="{4640EB62-C624-CB1C-9699-0CF943A2762C}"/>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8" creationId="{E3133821-34E9-423F-4887-644FBBD10430}"/>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29" creationId="{D5DA2F20-4A4D-6AB3-732D-A0D70918F04E}"/>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30" creationId="{60E12E59-2579-84B6-8B86-7271B7487E53}"/>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31" creationId="{F8178A16-7A12-AAD4-D8D5-F2CCB2ED7493}"/>
            </ac:spMkLst>
          </pc:spChg>
          <pc:spChg chg="add mod">
            <ac:chgData name="Trauer" userId="aa8b9dc3-a64d-4cc6-bd4f-f46eb5f096c9" providerId="ADAL" clId="{5B76CEF1-A6E3-49E3-8F70-F81E9495ECB4}" dt="2023-08-14T16:57:40.386" v="3389" actId="113"/>
            <ac:spMkLst>
              <pc:docMk/>
              <pc:sldMasterMk cId="1792399035" sldId="2147483767"/>
              <pc:sldLayoutMk cId="2860168405" sldId="2147483775"/>
              <ac:spMk id="32" creationId="{E4F4443B-EAD8-B8C5-940C-DE1BDD6EECAC}"/>
            </ac:spMkLst>
          </pc:spChg>
          <pc:spChg chg="add del mod">
            <ac:chgData name="Trauer" userId="aa8b9dc3-a64d-4cc6-bd4f-f46eb5f096c9" providerId="ADAL" clId="{5B76CEF1-A6E3-49E3-8F70-F81E9495ECB4}" dt="2023-08-14T16:57:40.386" v="3389" actId="113"/>
            <ac:spMkLst>
              <pc:docMk/>
              <pc:sldMasterMk cId="1792399035" sldId="2147483767"/>
              <pc:sldLayoutMk cId="2860168405" sldId="2147483775"/>
              <ac:spMk id="45" creationId="{F6E5502F-7FE0-DDBC-36D7-164A22C1A870}"/>
            </ac:spMkLst>
          </pc:spChg>
          <pc:picChg chg="mod">
            <ac:chgData name="Trauer" userId="aa8b9dc3-a64d-4cc6-bd4f-f46eb5f096c9" providerId="ADAL" clId="{5B76CEF1-A6E3-49E3-8F70-F81E9495ECB4}" dt="2023-08-14T16:57:40.386" v="3389" actId="113"/>
            <ac:picMkLst>
              <pc:docMk/>
              <pc:sldMasterMk cId="1792399035" sldId="2147483767"/>
              <pc:sldLayoutMk cId="2860168405" sldId="2147483775"/>
              <ac:picMk id="8" creationId="{9FF20EAB-490F-1F20-559A-AE0728EFDE86}"/>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3" creationId="{3ECE7A7E-7300-4FC7-5318-824F881334F4}"/>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4" creationId="{3CC663AC-6C24-DA51-FBF7-60E13F4B0C22}"/>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5" creationId="{7CB696AA-CF6A-2279-97AD-7FA0B1F72924}"/>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6" creationId="{D9568CF9-68D4-8082-BDB4-B878ED4F226E}"/>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7" creationId="{04914B57-BFB0-D30F-350A-2031D33026C6}"/>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8" creationId="{EC932835-ECAE-896C-E695-C31F0095F196}"/>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39" creationId="{52474CED-5D24-4D5F-49A5-6457B956B6F3}"/>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40" creationId="{DDAB463C-D4ED-D4B0-124A-C7F586C0F5F7}"/>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41" creationId="{0D4F4607-C237-1B2F-76EF-43409960B15B}"/>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42" creationId="{375EF1CD-F8DD-0D81-C144-535F8939835E}"/>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43" creationId="{849ABBF6-8094-7847-0FEB-37AA8A7A6AEE}"/>
            </ac:picMkLst>
          </pc:picChg>
          <pc:picChg chg="add mod">
            <ac:chgData name="Trauer" userId="aa8b9dc3-a64d-4cc6-bd4f-f46eb5f096c9" providerId="ADAL" clId="{5B76CEF1-A6E3-49E3-8F70-F81E9495ECB4}" dt="2023-08-14T16:57:40.386" v="3389" actId="113"/>
            <ac:picMkLst>
              <pc:docMk/>
              <pc:sldMasterMk cId="1792399035" sldId="2147483767"/>
              <pc:sldLayoutMk cId="2860168405" sldId="2147483775"/>
              <ac:picMk id="44" creationId="{54567EE2-619F-616A-B56D-D0751488B198}"/>
            </ac:picMkLst>
          </pc:pic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4" creationId="{75070355-B43B-CAA2-BEFF-182F7D8A9BE8}"/>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5" creationId="{24804DD6-600F-73E5-2D08-682CB245F5AA}"/>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6" creationId="{85034B3C-6928-1088-903B-EEE048565739}"/>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7" creationId="{0AAC59F8-30A5-4CAC-C4CA-BF4F4115C09F}"/>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15" creationId="{20CD94D7-ACBD-E9DA-24EF-094326A83988}"/>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16" creationId="{8140B98A-64C8-FAF5-7EF7-25229F41F8D5}"/>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17" creationId="{6CFE1343-2CC4-E867-E778-1E873B9880FB}"/>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18" creationId="{35FC0916-6598-D146-FDC8-E2EE6369BD10}"/>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19" creationId="{5C9CA08B-31D8-6CB9-D62C-B2A1800CC70B}"/>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20" creationId="{33A136E1-0F38-E96F-2A49-EC5EADE39747}"/>
            </ac:cxnSpMkLst>
          </pc:cxnChg>
          <pc:cxnChg chg="add mod">
            <ac:chgData name="Trauer" userId="aa8b9dc3-a64d-4cc6-bd4f-f46eb5f096c9" providerId="ADAL" clId="{5B76CEF1-A6E3-49E3-8F70-F81E9495ECB4}" dt="2023-08-14T16:57:40.386" v="3389" actId="113"/>
            <ac:cxnSpMkLst>
              <pc:docMk/>
              <pc:sldMasterMk cId="1792399035" sldId="2147483767"/>
              <pc:sldLayoutMk cId="2860168405" sldId="2147483775"/>
              <ac:cxnSpMk id="21" creationId="{71FB0BE0-5B43-6B39-E08D-E55C78E456C2}"/>
            </ac:cxnSpMkLst>
          </pc:cxnChg>
        </pc:sldLayoutChg>
        <pc:sldLayoutChg chg="delSp add mod replId">
          <pc:chgData name="Trauer" userId="aa8b9dc3-a64d-4cc6-bd4f-f46eb5f096c9" providerId="ADAL" clId="{5B76CEF1-A6E3-49E3-8F70-F81E9495ECB4}" dt="2023-08-14T16:56:15.947" v="3375" actId="478"/>
          <pc:sldLayoutMkLst>
            <pc:docMk/>
            <pc:sldMasterMk cId="1792399035" sldId="2147483767"/>
            <pc:sldLayoutMk cId="4158576246" sldId="2147483776"/>
          </pc:sldLayoutMkLst>
          <pc:spChg chg="del">
            <ac:chgData name="Trauer" userId="aa8b9dc3-a64d-4cc6-bd4f-f46eb5f096c9" providerId="ADAL" clId="{5B76CEF1-A6E3-49E3-8F70-F81E9495ECB4}" dt="2023-08-14T16:56:15.947" v="3375" actId="478"/>
            <ac:spMkLst>
              <pc:docMk/>
              <pc:sldMasterMk cId="1792399035" sldId="2147483767"/>
              <pc:sldLayoutMk cId="4158576246" sldId="2147483776"/>
              <ac:spMk id="2" creationId="{7A9788F1-A270-20C0-35E5-E8F5DD658020}"/>
            </ac:spMkLst>
          </pc:spChg>
        </pc:sldLayoutChg>
        <pc:sldLayoutChg chg="delSp add mod replId">
          <pc:chgData name="Trauer" userId="aa8b9dc3-a64d-4cc6-bd4f-f46eb5f096c9" providerId="ADAL" clId="{5B76CEF1-A6E3-49E3-8F70-F81E9495ECB4}" dt="2023-08-14T16:56:17.553" v="3376" actId="478"/>
          <pc:sldLayoutMkLst>
            <pc:docMk/>
            <pc:sldMasterMk cId="1792399035" sldId="2147483767"/>
            <pc:sldLayoutMk cId="2878845364" sldId="2147483777"/>
          </pc:sldLayoutMkLst>
          <pc:spChg chg="del">
            <ac:chgData name="Trauer" userId="aa8b9dc3-a64d-4cc6-bd4f-f46eb5f096c9" providerId="ADAL" clId="{5B76CEF1-A6E3-49E3-8F70-F81E9495ECB4}" dt="2023-08-14T16:56:17.553" v="3376" actId="478"/>
            <ac:spMkLst>
              <pc:docMk/>
              <pc:sldMasterMk cId="1792399035" sldId="2147483767"/>
              <pc:sldLayoutMk cId="2878845364" sldId="2147483777"/>
              <ac:spMk id="8" creationId="{B1BC92FD-F60D-58E6-3F66-389CD2FC8A47}"/>
            </ac:spMkLst>
          </pc:spChg>
        </pc:sldLayoutChg>
      </pc:sldMasterChg>
      <pc:sldMasterChg chg="addSp modSp add mod addSldLayout delSldLayout modSldLayout">
        <pc:chgData name="Trauer" userId="aa8b9dc3-a64d-4cc6-bd4f-f46eb5f096c9" providerId="ADAL" clId="{5B76CEF1-A6E3-49E3-8F70-F81E9495ECB4}" dt="2023-08-14T17:25:32.367" v="6600"/>
        <pc:sldMasterMkLst>
          <pc:docMk/>
          <pc:sldMasterMk cId="235313795" sldId="2147483778"/>
        </pc:sldMasterMkLst>
        <pc:picChg chg="add mod">
          <ac:chgData name="Trauer" userId="aa8b9dc3-a64d-4cc6-bd4f-f46eb5f096c9" providerId="ADAL" clId="{5B76CEF1-A6E3-49E3-8F70-F81E9495ECB4}" dt="2023-08-14T17:25:32.367" v="6600"/>
          <ac:picMkLst>
            <pc:docMk/>
            <pc:sldMasterMk cId="235313795" sldId="2147483778"/>
            <ac:picMk id="2" creationId="{72D23993-9A50-F02F-D787-F2BA43771A36}"/>
          </ac:picMkLst>
        </pc:picChg>
        <pc:sldLayoutChg chg="add del mod replId">
          <pc:chgData name="Trauer" userId="aa8b9dc3-a64d-4cc6-bd4f-f46eb5f096c9" providerId="ADAL" clId="{5B76CEF1-A6E3-49E3-8F70-F81E9495ECB4}" dt="2023-08-14T17:12:35.296" v="6425" actId="2696"/>
          <pc:sldLayoutMkLst>
            <pc:docMk/>
            <pc:sldMasterMk cId="235313795" sldId="2147483778"/>
            <pc:sldLayoutMk cId="1482235509" sldId="2147483779"/>
          </pc:sldLayoutMkLst>
        </pc:sldLayoutChg>
        <pc:sldLayoutChg chg="add del mod replId">
          <pc:chgData name="Trauer" userId="aa8b9dc3-a64d-4cc6-bd4f-f46eb5f096c9" providerId="ADAL" clId="{5B76CEF1-A6E3-49E3-8F70-F81E9495ECB4}" dt="2023-08-14T17:12:47.408" v="6427" actId="2696"/>
          <pc:sldLayoutMkLst>
            <pc:docMk/>
            <pc:sldMasterMk cId="235313795" sldId="2147483778"/>
            <pc:sldLayoutMk cId="897718209" sldId="2147483780"/>
          </pc:sldLayoutMkLst>
        </pc:sldLayoutChg>
        <pc:sldLayoutChg chg="add del mod replId">
          <pc:chgData name="Trauer" userId="aa8b9dc3-a64d-4cc6-bd4f-f46eb5f096c9" providerId="ADAL" clId="{5B76CEF1-A6E3-49E3-8F70-F81E9495ECB4}" dt="2023-08-14T17:12:47.423" v="6428" actId="2696"/>
          <pc:sldLayoutMkLst>
            <pc:docMk/>
            <pc:sldMasterMk cId="235313795" sldId="2147483778"/>
            <pc:sldLayoutMk cId="3506529751" sldId="2147483781"/>
          </pc:sldLayoutMkLst>
        </pc:sldLayoutChg>
        <pc:sldLayoutChg chg="add del mod replId">
          <pc:chgData name="Trauer" userId="aa8b9dc3-a64d-4cc6-bd4f-f46eb5f096c9" providerId="ADAL" clId="{5B76CEF1-A6E3-49E3-8F70-F81E9495ECB4}" dt="2023-08-14T17:12:47.441" v="6429" actId="2696"/>
          <pc:sldLayoutMkLst>
            <pc:docMk/>
            <pc:sldMasterMk cId="235313795" sldId="2147483778"/>
            <pc:sldLayoutMk cId="3612065311" sldId="2147483782"/>
          </pc:sldLayoutMkLst>
        </pc:sldLayoutChg>
        <pc:sldLayoutChg chg="add del mod replId">
          <pc:chgData name="Trauer" userId="aa8b9dc3-a64d-4cc6-bd4f-f46eb5f096c9" providerId="ADAL" clId="{5B76CEF1-A6E3-49E3-8F70-F81E9495ECB4}" dt="2023-08-14T17:12:47.462" v="6430" actId="2696"/>
          <pc:sldLayoutMkLst>
            <pc:docMk/>
            <pc:sldMasterMk cId="235313795" sldId="2147483778"/>
            <pc:sldLayoutMk cId="2808864319" sldId="2147483783"/>
          </pc:sldLayoutMkLst>
        </pc:sldLayoutChg>
        <pc:sldLayoutChg chg="add del mod replId">
          <pc:chgData name="Trauer" userId="aa8b9dc3-a64d-4cc6-bd4f-f46eb5f096c9" providerId="ADAL" clId="{5B76CEF1-A6E3-49E3-8F70-F81E9495ECB4}" dt="2023-08-14T17:12:47.573" v="6431" actId="2696"/>
          <pc:sldLayoutMkLst>
            <pc:docMk/>
            <pc:sldMasterMk cId="235313795" sldId="2147483778"/>
            <pc:sldLayoutMk cId="1405434997" sldId="2147483784"/>
          </pc:sldLayoutMkLst>
        </pc:sldLayoutChg>
        <pc:sldLayoutChg chg="add del mod replId">
          <pc:chgData name="Trauer" userId="aa8b9dc3-a64d-4cc6-bd4f-f46eb5f096c9" providerId="ADAL" clId="{5B76CEF1-A6E3-49E3-8F70-F81E9495ECB4}" dt="2023-08-14T17:12:47.588" v="6432" actId="2696"/>
          <pc:sldLayoutMkLst>
            <pc:docMk/>
            <pc:sldMasterMk cId="235313795" sldId="2147483778"/>
            <pc:sldLayoutMk cId="3476147950" sldId="2147483785"/>
          </pc:sldLayoutMkLst>
        </pc:sldLayoutChg>
        <pc:sldLayoutChg chg="add del mod replId">
          <pc:chgData name="Trauer" userId="aa8b9dc3-a64d-4cc6-bd4f-f46eb5f096c9" providerId="ADAL" clId="{5B76CEF1-A6E3-49E3-8F70-F81E9495ECB4}" dt="2023-08-14T17:12:47.605" v="6433" actId="2696"/>
          <pc:sldLayoutMkLst>
            <pc:docMk/>
            <pc:sldMasterMk cId="235313795" sldId="2147483778"/>
            <pc:sldLayoutMk cId="796756840" sldId="2147483786"/>
          </pc:sldLayoutMkLst>
        </pc:sldLayoutChg>
        <pc:sldLayoutChg chg="delSp new mod">
          <pc:chgData name="Trauer" userId="aa8b9dc3-a64d-4cc6-bd4f-f46eb5f096c9" providerId="ADAL" clId="{5B76CEF1-A6E3-49E3-8F70-F81E9495ECB4}" dt="2023-08-14T17:12:50.770" v="6434" actId="478"/>
          <pc:sldLayoutMkLst>
            <pc:docMk/>
            <pc:sldMasterMk cId="235313795" sldId="2147483778"/>
            <pc:sldLayoutMk cId="224888920" sldId="2147483787"/>
          </pc:sldLayoutMkLst>
          <pc:spChg chg="del">
            <ac:chgData name="Trauer" userId="aa8b9dc3-a64d-4cc6-bd4f-f46eb5f096c9" providerId="ADAL" clId="{5B76CEF1-A6E3-49E3-8F70-F81E9495ECB4}" dt="2023-08-14T17:12:50.770" v="6434" actId="478"/>
            <ac:spMkLst>
              <pc:docMk/>
              <pc:sldMasterMk cId="235313795" sldId="2147483778"/>
              <pc:sldLayoutMk cId="224888920" sldId="2147483787"/>
              <ac:spMk id="2" creationId="{86EF0F8F-CFF1-6A24-EDA7-AFF7744F1EE0}"/>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bg1">
                    <a:lumMod val="95000"/>
                  </a:schemeClr>
                </a:solidFill>
                <a:latin typeface="+mn-lt"/>
                <a:ea typeface="+mn-ea"/>
                <a:cs typeface="+mn-cs"/>
              </a:defRPr>
            </a:pPr>
            <a:r>
              <a:rPr lang="en-US" b="1" dirty="0"/>
              <a:t>Implementation Roadmap</a:t>
            </a:r>
          </a:p>
        </c:rich>
      </c:tx>
      <c:layout>
        <c:manualLayout>
          <c:xMode val="edge"/>
          <c:yMode val="edge"/>
          <c:x val="0.41026552930883647"/>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lumMod val="9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tart Date</c:v>
                </c:pt>
              </c:strCache>
            </c:strRef>
          </c:tx>
          <c:spPr>
            <a:noFill/>
            <a:ln>
              <a:noFill/>
            </a:ln>
            <a:effectLst/>
          </c:spPr>
          <c:invertIfNegative val="0"/>
          <c:cat>
            <c:strRef>
              <c:f>Sheet1!$A$2:$A$7</c:f>
              <c:strCache>
                <c:ptCount val="6"/>
                <c:pt idx="0">
                  <c:v>Preparatory Phase</c:v>
                </c:pt>
                <c:pt idx="1">
                  <c:v>Phase 1 Work Effort</c:v>
                </c:pt>
                <c:pt idx="2">
                  <c:v>Phase 2 Work Effort</c:v>
                </c:pt>
                <c:pt idx="3">
                  <c:v>Phase 3 Work Effort</c:v>
                </c:pt>
                <c:pt idx="4">
                  <c:v>Testing Phase</c:v>
                </c:pt>
                <c:pt idx="5">
                  <c:v>Delivery</c:v>
                </c:pt>
              </c:strCache>
            </c:strRef>
          </c:cat>
          <c:val>
            <c:numRef>
              <c:f>Sheet1!$B$2:$B$7</c:f>
              <c:numCache>
                <c:formatCode>m/d;@</c:formatCode>
                <c:ptCount val="6"/>
                <c:pt idx="0">
                  <c:v>43306</c:v>
                </c:pt>
                <c:pt idx="1">
                  <c:v>43317</c:v>
                </c:pt>
                <c:pt idx="2">
                  <c:v>43327</c:v>
                </c:pt>
                <c:pt idx="3">
                  <c:v>43351</c:v>
                </c:pt>
                <c:pt idx="4">
                  <c:v>43377</c:v>
                </c:pt>
                <c:pt idx="5">
                  <c:v>43415</c:v>
                </c:pt>
              </c:numCache>
            </c:numRef>
          </c:val>
          <c:extLst>
            <c:ext xmlns:c16="http://schemas.microsoft.com/office/drawing/2014/chart" uri="{C3380CC4-5D6E-409C-BE32-E72D297353CC}">
              <c16:uniqueId val="{00000000-A471-46BB-94C5-6729ECA9D96B}"/>
            </c:ext>
          </c:extLst>
        </c:ser>
        <c:ser>
          <c:idx val="2"/>
          <c:order val="2"/>
          <c:tx>
            <c:strRef>
              <c:f>Sheet1!$D$1</c:f>
              <c:strCache>
                <c:ptCount val="1"/>
                <c:pt idx="0">
                  <c:v>Duration (days)</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A471-46BB-94C5-6729ECA9D96B}"/>
              </c:ext>
            </c:extLst>
          </c:dPt>
          <c:dPt>
            <c:idx val="2"/>
            <c:invertIfNegative val="0"/>
            <c:bubble3D val="0"/>
            <c:spPr>
              <a:solidFill>
                <a:schemeClr val="tx2"/>
              </a:solidFill>
              <a:ln>
                <a:noFill/>
              </a:ln>
              <a:effectLst/>
            </c:spPr>
            <c:extLst>
              <c:ext xmlns:c16="http://schemas.microsoft.com/office/drawing/2014/chart" uri="{C3380CC4-5D6E-409C-BE32-E72D297353CC}">
                <c16:uniqueId val="{00000004-A471-46BB-94C5-6729ECA9D96B}"/>
              </c:ext>
            </c:extLst>
          </c:dPt>
          <c:dPt>
            <c:idx val="5"/>
            <c:invertIfNegative val="0"/>
            <c:bubble3D val="0"/>
            <c:spPr>
              <a:solidFill>
                <a:schemeClr val="tx2"/>
              </a:solidFill>
              <a:ln>
                <a:noFill/>
              </a:ln>
              <a:effectLst/>
            </c:spPr>
            <c:extLst>
              <c:ext xmlns:c16="http://schemas.microsoft.com/office/drawing/2014/chart" uri="{C3380CC4-5D6E-409C-BE32-E72D297353CC}">
                <c16:uniqueId val="{00000006-A471-46BB-94C5-6729ECA9D96B}"/>
              </c:ext>
            </c:extLst>
          </c:dPt>
          <c:cat>
            <c:strRef>
              <c:f>Sheet1!$A$2:$A$7</c:f>
              <c:strCache>
                <c:ptCount val="6"/>
                <c:pt idx="0">
                  <c:v>Preparatory Phase</c:v>
                </c:pt>
                <c:pt idx="1">
                  <c:v>Phase 1 Work Effort</c:v>
                </c:pt>
                <c:pt idx="2">
                  <c:v>Phase 2 Work Effort</c:v>
                </c:pt>
                <c:pt idx="3">
                  <c:v>Phase 3 Work Effort</c:v>
                </c:pt>
                <c:pt idx="4">
                  <c:v>Testing Phase</c:v>
                </c:pt>
                <c:pt idx="5">
                  <c:v>Delivery</c:v>
                </c:pt>
              </c:strCache>
            </c:strRef>
          </c:cat>
          <c:val>
            <c:numRef>
              <c:f>Sheet1!$D$2:$D$7</c:f>
              <c:numCache>
                <c:formatCode>General</c:formatCode>
                <c:ptCount val="6"/>
                <c:pt idx="0">
                  <c:v>7</c:v>
                </c:pt>
                <c:pt idx="1">
                  <c:v>33</c:v>
                </c:pt>
                <c:pt idx="2">
                  <c:v>33</c:v>
                </c:pt>
                <c:pt idx="3">
                  <c:v>22</c:v>
                </c:pt>
                <c:pt idx="4">
                  <c:v>34</c:v>
                </c:pt>
                <c:pt idx="5">
                  <c:v>30</c:v>
                </c:pt>
              </c:numCache>
            </c:numRef>
          </c:val>
          <c:extLst>
            <c:ext xmlns:c16="http://schemas.microsoft.com/office/drawing/2014/chart" uri="{C3380CC4-5D6E-409C-BE32-E72D297353CC}">
              <c16:uniqueId val="{00000007-A471-46BB-94C5-6729ECA9D96B}"/>
            </c:ext>
          </c:extLst>
        </c:ser>
        <c:dLbls>
          <c:showLegendKey val="0"/>
          <c:showVal val="0"/>
          <c:showCatName val="0"/>
          <c:showSerName val="0"/>
          <c:showPercent val="0"/>
          <c:showBubbleSize val="0"/>
        </c:dLbls>
        <c:gapWidth val="150"/>
        <c:overlap val="100"/>
        <c:axId val="141101599"/>
        <c:axId val="141101183"/>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End Date</c:v>
                      </c:pt>
                    </c:strCache>
                  </c:strRef>
                </c:tx>
                <c:spPr>
                  <a:solidFill>
                    <a:schemeClr val="accent2"/>
                  </a:solidFill>
                  <a:ln>
                    <a:noFill/>
                  </a:ln>
                  <a:effectLst/>
                </c:spPr>
                <c:invertIfNegative val="0"/>
                <c:cat>
                  <c:strRef>
                    <c:extLst>
                      <c:ext uri="{02D57815-91ED-43cb-92C2-25804820EDAC}">
                        <c15:formulaRef>
                          <c15:sqref>Sheet1!$A$2:$A$7</c15:sqref>
                        </c15:formulaRef>
                      </c:ext>
                    </c:extLst>
                    <c:strCache>
                      <c:ptCount val="6"/>
                      <c:pt idx="0">
                        <c:v>Preparatory Phase</c:v>
                      </c:pt>
                      <c:pt idx="1">
                        <c:v>Phase 1 Work Effort</c:v>
                      </c:pt>
                      <c:pt idx="2">
                        <c:v>Phase 2 Work Effort</c:v>
                      </c:pt>
                      <c:pt idx="3">
                        <c:v>Phase 3 Work Effort</c:v>
                      </c:pt>
                      <c:pt idx="4">
                        <c:v>Testing Phase</c:v>
                      </c:pt>
                      <c:pt idx="5">
                        <c:v>Delivery</c:v>
                      </c:pt>
                    </c:strCache>
                  </c:strRef>
                </c:cat>
                <c:val>
                  <c:numRef>
                    <c:extLst>
                      <c:ext uri="{02D57815-91ED-43cb-92C2-25804820EDAC}">
                        <c15:formulaRef>
                          <c15:sqref>Sheet1!$C$2:$C$7</c15:sqref>
                        </c15:formulaRef>
                      </c:ext>
                    </c:extLst>
                    <c:numCache>
                      <c:formatCode>m/d;@</c:formatCode>
                      <c:ptCount val="6"/>
                      <c:pt idx="0">
                        <c:v>43313</c:v>
                      </c:pt>
                      <c:pt idx="1">
                        <c:v>43350</c:v>
                      </c:pt>
                      <c:pt idx="2">
                        <c:v>43360</c:v>
                      </c:pt>
                      <c:pt idx="3">
                        <c:v>43373</c:v>
                      </c:pt>
                      <c:pt idx="4">
                        <c:v>43411</c:v>
                      </c:pt>
                      <c:pt idx="5">
                        <c:v>43445</c:v>
                      </c:pt>
                    </c:numCache>
                  </c:numRef>
                </c:val>
                <c:extLst>
                  <c:ext xmlns:c16="http://schemas.microsoft.com/office/drawing/2014/chart" uri="{C3380CC4-5D6E-409C-BE32-E72D297353CC}">
                    <c16:uniqueId val="{00000008-A471-46BB-94C5-6729ECA9D96B}"/>
                  </c:ext>
                </c:extLst>
              </c15:ser>
            </c15:filteredBarSeries>
          </c:ext>
        </c:extLst>
      </c:barChart>
      <c:catAx>
        <c:axId val="1411015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141101183"/>
        <c:crosses val="autoZero"/>
        <c:auto val="1"/>
        <c:lblAlgn val="ctr"/>
        <c:lblOffset val="100"/>
        <c:noMultiLvlLbl val="0"/>
      </c:catAx>
      <c:valAx>
        <c:axId val="141101183"/>
        <c:scaling>
          <c:orientation val="minMax"/>
          <c:min val="43300"/>
        </c:scaling>
        <c:delete val="0"/>
        <c:axPos val="t"/>
        <c:majorGridlines>
          <c:spPr>
            <a:ln w="9525" cap="flat" cmpd="sng" algn="ctr">
              <a:solidFill>
                <a:schemeClr val="tx1">
                  <a:lumMod val="15000"/>
                  <a:lumOff val="85000"/>
                </a:schemeClr>
              </a:solidFill>
              <a:round/>
            </a:ln>
            <a:effectLst/>
          </c:spPr>
        </c:majorGridlines>
        <c:numFmt formatCode="m/d;@"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141101599"/>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showDLblsOverMax val="0"/>
  </c:chart>
  <c:spPr>
    <a:noFill/>
    <a:ln>
      <a:noFill/>
    </a:ln>
    <a:effectLst/>
  </c:spPr>
  <c:txPr>
    <a:bodyPr/>
    <a:lstStyle/>
    <a:p>
      <a:pPr>
        <a:defRPr>
          <a:solidFill>
            <a:schemeClr val="bg1">
              <a:lumMod val="95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bg1">
                    <a:lumMod val="95000"/>
                  </a:schemeClr>
                </a:solidFill>
                <a:latin typeface="+mn-lt"/>
                <a:ea typeface="+mn-ea"/>
                <a:cs typeface="+mn-cs"/>
              </a:defRPr>
            </a:pPr>
            <a:r>
              <a:rPr lang="en-US" b="1" dirty="0"/>
              <a:t>Implementation Roadmap</a:t>
            </a:r>
          </a:p>
        </c:rich>
      </c:tx>
      <c:layout>
        <c:manualLayout>
          <c:xMode val="edge"/>
          <c:yMode val="edge"/>
          <c:x val="0.41026552930883647"/>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lumMod val="9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tart Date</c:v>
                </c:pt>
              </c:strCache>
            </c:strRef>
          </c:tx>
          <c:spPr>
            <a:noFill/>
            <a:ln>
              <a:noFill/>
            </a:ln>
            <a:effectLst/>
          </c:spPr>
          <c:invertIfNegative val="0"/>
          <c:cat>
            <c:strRef>
              <c:f>Sheet1!$A$2:$A$7</c:f>
              <c:strCache>
                <c:ptCount val="6"/>
                <c:pt idx="0">
                  <c:v>Preparatory Phase</c:v>
                </c:pt>
                <c:pt idx="1">
                  <c:v>Phase 1 Work Effort</c:v>
                </c:pt>
                <c:pt idx="2">
                  <c:v>Phase 2 Work Effort</c:v>
                </c:pt>
                <c:pt idx="3">
                  <c:v>Phase 3 Work Effort</c:v>
                </c:pt>
                <c:pt idx="4">
                  <c:v>Testing Phase</c:v>
                </c:pt>
                <c:pt idx="5">
                  <c:v>Delivery</c:v>
                </c:pt>
              </c:strCache>
            </c:strRef>
          </c:cat>
          <c:val>
            <c:numRef>
              <c:f>Sheet1!$B$2:$B$7</c:f>
              <c:numCache>
                <c:formatCode>m/d;@</c:formatCode>
                <c:ptCount val="6"/>
                <c:pt idx="0">
                  <c:v>43306</c:v>
                </c:pt>
                <c:pt idx="1">
                  <c:v>43317</c:v>
                </c:pt>
                <c:pt idx="2">
                  <c:v>43327</c:v>
                </c:pt>
                <c:pt idx="3">
                  <c:v>43351</c:v>
                </c:pt>
                <c:pt idx="4">
                  <c:v>43377</c:v>
                </c:pt>
                <c:pt idx="5">
                  <c:v>43415</c:v>
                </c:pt>
              </c:numCache>
            </c:numRef>
          </c:val>
          <c:extLst>
            <c:ext xmlns:c16="http://schemas.microsoft.com/office/drawing/2014/chart" uri="{C3380CC4-5D6E-409C-BE32-E72D297353CC}">
              <c16:uniqueId val="{00000000-E3F5-411E-AC2F-DAC0F23BEADF}"/>
            </c:ext>
          </c:extLst>
        </c:ser>
        <c:ser>
          <c:idx val="2"/>
          <c:order val="2"/>
          <c:tx>
            <c:strRef>
              <c:f>Sheet1!$D$1</c:f>
              <c:strCache>
                <c:ptCount val="1"/>
                <c:pt idx="0">
                  <c:v>Duration (days)</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E3F5-411E-AC2F-DAC0F23BEADF}"/>
              </c:ext>
            </c:extLst>
          </c:dPt>
          <c:dPt>
            <c:idx val="2"/>
            <c:invertIfNegative val="0"/>
            <c:bubble3D val="0"/>
            <c:spPr>
              <a:solidFill>
                <a:schemeClr val="tx2"/>
              </a:solidFill>
              <a:ln>
                <a:noFill/>
              </a:ln>
              <a:effectLst/>
            </c:spPr>
            <c:extLst>
              <c:ext xmlns:c16="http://schemas.microsoft.com/office/drawing/2014/chart" uri="{C3380CC4-5D6E-409C-BE32-E72D297353CC}">
                <c16:uniqueId val="{00000004-E3F5-411E-AC2F-DAC0F23BEADF}"/>
              </c:ext>
            </c:extLst>
          </c:dPt>
          <c:dPt>
            <c:idx val="5"/>
            <c:invertIfNegative val="0"/>
            <c:bubble3D val="0"/>
            <c:spPr>
              <a:solidFill>
                <a:schemeClr val="tx2"/>
              </a:solidFill>
              <a:ln>
                <a:noFill/>
              </a:ln>
              <a:effectLst/>
            </c:spPr>
            <c:extLst>
              <c:ext xmlns:c16="http://schemas.microsoft.com/office/drawing/2014/chart" uri="{C3380CC4-5D6E-409C-BE32-E72D297353CC}">
                <c16:uniqueId val="{00000006-E3F5-411E-AC2F-DAC0F23BEADF}"/>
              </c:ext>
            </c:extLst>
          </c:dPt>
          <c:cat>
            <c:strRef>
              <c:f>Sheet1!$A$2:$A$7</c:f>
              <c:strCache>
                <c:ptCount val="6"/>
                <c:pt idx="0">
                  <c:v>Preparatory Phase</c:v>
                </c:pt>
                <c:pt idx="1">
                  <c:v>Phase 1 Work Effort</c:v>
                </c:pt>
                <c:pt idx="2">
                  <c:v>Phase 2 Work Effort</c:v>
                </c:pt>
                <c:pt idx="3">
                  <c:v>Phase 3 Work Effort</c:v>
                </c:pt>
                <c:pt idx="4">
                  <c:v>Testing Phase</c:v>
                </c:pt>
                <c:pt idx="5">
                  <c:v>Delivery</c:v>
                </c:pt>
              </c:strCache>
            </c:strRef>
          </c:cat>
          <c:val>
            <c:numRef>
              <c:f>Sheet1!$D$2:$D$7</c:f>
              <c:numCache>
                <c:formatCode>General</c:formatCode>
                <c:ptCount val="6"/>
                <c:pt idx="0">
                  <c:v>7</c:v>
                </c:pt>
                <c:pt idx="1">
                  <c:v>33</c:v>
                </c:pt>
                <c:pt idx="2">
                  <c:v>33</c:v>
                </c:pt>
                <c:pt idx="3">
                  <c:v>22</c:v>
                </c:pt>
                <c:pt idx="4">
                  <c:v>34</c:v>
                </c:pt>
                <c:pt idx="5">
                  <c:v>30</c:v>
                </c:pt>
              </c:numCache>
            </c:numRef>
          </c:val>
          <c:extLst>
            <c:ext xmlns:c16="http://schemas.microsoft.com/office/drawing/2014/chart" uri="{C3380CC4-5D6E-409C-BE32-E72D297353CC}">
              <c16:uniqueId val="{00000007-E3F5-411E-AC2F-DAC0F23BEADF}"/>
            </c:ext>
          </c:extLst>
        </c:ser>
        <c:dLbls>
          <c:showLegendKey val="0"/>
          <c:showVal val="0"/>
          <c:showCatName val="0"/>
          <c:showSerName val="0"/>
          <c:showPercent val="0"/>
          <c:showBubbleSize val="0"/>
        </c:dLbls>
        <c:gapWidth val="150"/>
        <c:overlap val="100"/>
        <c:axId val="141101599"/>
        <c:axId val="141101183"/>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End Date</c:v>
                      </c:pt>
                    </c:strCache>
                  </c:strRef>
                </c:tx>
                <c:spPr>
                  <a:solidFill>
                    <a:schemeClr val="accent2"/>
                  </a:solidFill>
                  <a:ln>
                    <a:noFill/>
                  </a:ln>
                  <a:effectLst/>
                </c:spPr>
                <c:invertIfNegative val="0"/>
                <c:cat>
                  <c:strRef>
                    <c:extLst>
                      <c:ext uri="{02D57815-91ED-43cb-92C2-25804820EDAC}">
                        <c15:formulaRef>
                          <c15:sqref>Sheet1!$A$2:$A$7</c15:sqref>
                        </c15:formulaRef>
                      </c:ext>
                    </c:extLst>
                    <c:strCache>
                      <c:ptCount val="6"/>
                      <c:pt idx="0">
                        <c:v>Preparatory Phase</c:v>
                      </c:pt>
                      <c:pt idx="1">
                        <c:v>Phase 1 Work Effort</c:v>
                      </c:pt>
                      <c:pt idx="2">
                        <c:v>Phase 2 Work Effort</c:v>
                      </c:pt>
                      <c:pt idx="3">
                        <c:v>Phase 3 Work Effort</c:v>
                      </c:pt>
                      <c:pt idx="4">
                        <c:v>Testing Phase</c:v>
                      </c:pt>
                      <c:pt idx="5">
                        <c:v>Delivery</c:v>
                      </c:pt>
                    </c:strCache>
                  </c:strRef>
                </c:cat>
                <c:val>
                  <c:numRef>
                    <c:extLst>
                      <c:ext uri="{02D57815-91ED-43cb-92C2-25804820EDAC}">
                        <c15:formulaRef>
                          <c15:sqref>Sheet1!$C$2:$C$7</c15:sqref>
                        </c15:formulaRef>
                      </c:ext>
                    </c:extLst>
                    <c:numCache>
                      <c:formatCode>m/d;@</c:formatCode>
                      <c:ptCount val="6"/>
                      <c:pt idx="0">
                        <c:v>43313</c:v>
                      </c:pt>
                      <c:pt idx="1">
                        <c:v>43350</c:v>
                      </c:pt>
                      <c:pt idx="2">
                        <c:v>43360</c:v>
                      </c:pt>
                      <c:pt idx="3">
                        <c:v>43373</c:v>
                      </c:pt>
                      <c:pt idx="4">
                        <c:v>43411</c:v>
                      </c:pt>
                      <c:pt idx="5">
                        <c:v>43445</c:v>
                      </c:pt>
                    </c:numCache>
                  </c:numRef>
                </c:val>
                <c:extLst>
                  <c:ext xmlns:c16="http://schemas.microsoft.com/office/drawing/2014/chart" uri="{C3380CC4-5D6E-409C-BE32-E72D297353CC}">
                    <c16:uniqueId val="{00000008-E3F5-411E-AC2F-DAC0F23BEADF}"/>
                  </c:ext>
                </c:extLst>
              </c15:ser>
            </c15:filteredBarSeries>
          </c:ext>
        </c:extLst>
      </c:barChart>
      <c:catAx>
        <c:axId val="1411015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141101183"/>
        <c:crosses val="autoZero"/>
        <c:auto val="1"/>
        <c:lblAlgn val="ctr"/>
        <c:lblOffset val="100"/>
        <c:noMultiLvlLbl val="0"/>
      </c:catAx>
      <c:valAx>
        <c:axId val="141101183"/>
        <c:scaling>
          <c:orientation val="minMax"/>
          <c:min val="43300"/>
        </c:scaling>
        <c:delete val="0"/>
        <c:axPos val="t"/>
        <c:majorGridlines>
          <c:spPr>
            <a:ln w="9525" cap="flat" cmpd="sng" algn="ctr">
              <a:solidFill>
                <a:schemeClr val="tx1">
                  <a:lumMod val="15000"/>
                  <a:lumOff val="85000"/>
                </a:schemeClr>
              </a:solidFill>
              <a:round/>
            </a:ln>
            <a:effectLst/>
          </c:spPr>
        </c:majorGridlines>
        <c:numFmt formatCode="m/d;@"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141101599"/>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showDLblsOverMax val="0"/>
  </c:chart>
  <c:spPr>
    <a:noFill/>
    <a:ln>
      <a:noFill/>
    </a:ln>
    <a:effectLst/>
  </c:spPr>
  <c:txPr>
    <a:bodyPr/>
    <a:lstStyle/>
    <a:p>
      <a:pPr>
        <a:defRPr>
          <a:solidFill>
            <a:schemeClr val="bg1">
              <a:lumMod val="95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 y="1"/>
            <a:ext cx="4434999" cy="355203"/>
          </a:xfrm>
          <a:prstGeom prst="rect">
            <a:avLst/>
          </a:prstGeom>
        </p:spPr>
        <p:txBody>
          <a:bodyPr vert="horz" lIns="94763" tIns="47381" rIns="94763" bIns="47381" rtlCol="0"/>
          <a:lstStyle>
            <a:lvl1pPr algn="l" fontAlgn="auto">
              <a:spcBef>
                <a:spcPts val="0"/>
              </a:spcBef>
              <a:spcAft>
                <a:spcPts val="0"/>
              </a:spcAft>
              <a:defRPr sz="13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797250" y="1"/>
            <a:ext cx="4434999" cy="355203"/>
          </a:xfrm>
          <a:prstGeom prst="rect">
            <a:avLst/>
          </a:prstGeom>
        </p:spPr>
        <p:txBody>
          <a:bodyPr vert="horz" lIns="94763" tIns="47381" rIns="94763" bIns="47381" rtlCol="0"/>
          <a:lstStyle>
            <a:lvl1pPr algn="r" fontAlgn="auto">
              <a:spcBef>
                <a:spcPts val="0"/>
              </a:spcBef>
              <a:spcAft>
                <a:spcPts val="0"/>
              </a:spcAft>
              <a:defRPr sz="1300">
                <a:latin typeface="Arial" pitchFamily="34" charset="0"/>
                <a:cs typeface="Arial" pitchFamily="34" charset="0"/>
              </a:defRPr>
            </a:lvl1pPr>
          </a:lstStyle>
          <a:p>
            <a:pPr>
              <a:defRPr/>
            </a:pPr>
            <a:fld id="{20751376-2EB8-4403-B858-305A8AAA6B01}" type="datetimeFigureOut">
              <a:rPr lang="en-GB"/>
              <a:pPr>
                <a:defRPr/>
              </a:pPr>
              <a:t>17/08/2023</a:t>
            </a:fld>
            <a:endParaRPr lang="en-GB" dirty="0"/>
          </a:p>
        </p:txBody>
      </p:sp>
      <p:sp>
        <p:nvSpPr>
          <p:cNvPr id="4" name="Fußzeilenplatzhalter 3"/>
          <p:cNvSpPr>
            <a:spLocks noGrp="1"/>
          </p:cNvSpPr>
          <p:nvPr>
            <p:ph type="ftr" sz="quarter" idx="2"/>
          </p:nvPr>
        </p:nvSpPr>
        <p:spPr>
          <a:xfrm>
            <a:off x="4" y="6747628"/>
            <a:ext cx="4434999" cy="355203"/>
          </a:xfrm>
          <a:prstGeom prst="rect">
            <a:avLst/>
          </a:prstGeom>
        </p:spPr>
        <p:txBody>
          <a:bodyPr vert="horz" lIns="94763" tIns="47381" rIns="94763" bIns="47381" rtlCol="0" anchor="b"/>
          <a:lstStyle>
            <a:lvl1pPr algn="l" fontAlgn="auto">
              <a:spcBef>
                <a:spcPts val="0"/>
              </a:spcBef>
              <a:spcAft>
                <a:spcPts val="0"/>
              </a:spcAft>
              <a:defRPr sz="13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797250" y="6747628"/>
            <a:ext cx="4434999" cy="355203"/>
          </a:xfrm>
          <a:prstGeom prst="rect">
            <a:avLst/>
          </a:prstGeom>
        </p:spPr>
        <p:txBody>
          <a:bodyPr vert="horz" lIns="94763" tIns="47381" rIns="94763" bIns="47381" rtlCol="0" anchor="b"/>
          <a:lstStyle>
            <a:lvl1pPr algn="r" fontAlgn="auto">
              <a:spcBef>
                <a:spcPts val="0"/>
              </a:spcBef>
              <a:spcAft>
                <a:spcPts val="0"/>
              </a:spcAft>
              <a:defRPr sz="13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 y="1"/>
            <a:ext cx="4434999" cy="355203"/>
          </a:xfrm>
          <a:prstGeom prst="rect">
            <a:avLst/>
          </a:prstGeom>
        </p:spPr>
        <p:txBody>
          <a:bodyPr vert="horz" lIns="94763" tIns="47381" rIns="94763" bIns="47381" rtlCol="0"/>
          <a:lstStyle>
            <a:lvl1pPr algn="l" fontAlgn="auto">
              <a:spcBef>
                <a:spcPts val="0"/>
              </a:spcBef>
              <a:spcAft>
                <a:spcPts val="0"/>
              </a:spcAft>
              <a:defRPr sz="13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797250" y="1"/>
            <a:ext cx="4434999" cy="355203"/>
          </a:xfrm>
          <a:prstGeom prst="rect">
            <a:avLst/>
          </a:prstGeom>
        </p:spPr>
        <p:txBody>
          <a:bodyPr vert="horz" lIns="94763" tIns="47381" rIns="94763" bIns="47381" rtlCol="0"/>
          <a:lstStyle>
            <a:lvl1pPr algn="r" fontAlgn="auto">
              <a:spcBef>
                <a:spcPts val="0"/>
              </a:spcBef>
              <a:spcAft>
                <a:spcPts val="0"/>
              </a:spcAft>
              <a:defRPr sz="1300">
                <a:latin typeface="+mn-lt"/>
                <a:cs typeface="+mn-cs"/>
              </a:defRPr>
            </a:lvl1pPr>
          </a:lstStyle>
          <a:p>
            <a:pPr>
              <a:defRPr/>
            </a:pPr>
            <a:fld id="{89C46BC9-2C9E-4670-A85A-6A588BA2D405}" type="datetimeFigureOut">
              <a:rPr lang="en-GB"/>
              <a:pPr>
                <a:defRPr/>
              </a:pPr>
              <a:t>17/08/2023</a:t>
            </a:fld>
            <a:endParaRPr lang="en-GB"/>
          </a:p>
        </p:txBody>
      </p:sp>
      <p:sp>
        <p:nvSpPr>
          <p:cNvPr id="4" name="Folienbildplatzhalter 3"/>
          <p:cNvSpPr>
            <a:spLocks noGrp="1" noRot="1" noChangeAspect="1"/>
          </p:cNvSpPr>
          <p:nvPr>
            <p:ph type="sldImg" idx="2"/>
          </p:nvPr>
        </p:nvSpPr>
        <p:spPr>
          <a:xfrm>
            <a:off x="2749550" y="531813"/>
            <a:ext cx="4735513" cy="2665412"/>
          </a:xfrm>
          <a:prstGeom prst="rect">
            <a:avLst/>
          </a:prstGeom>
          <a:noFill/>
          <a:ln w="12700">
            <a:solidFill>
              <a:prstClr val="black"/>
            </a:solidFill>
          </a:ln>
        </p:spPr>
        <p:txBody>
          <a:bodyPr vert="horz" lIns="94763" tIns="47381" rIns="94763" bIns="47381" rtlCol="0" anchor="ctr"/>
          <a:lstStyle/>
          <a:p>
            <a:pPr lvl="0"/>
            <a:endParaRPr lang="en-GB" noProof="0"/>
          </a:p>
        </p:txBody>
      </p:sp>
      <p:sp>
        <p:nvSpPr>
          <p:cNvPr id="5" name="Notizenplatzhalter 4"/>
          <p:cNvSpPr>
            <a:spLocks noGrp="1"/>
          </p:cNvSpPr>
          <p:nvPr>
            <p:ph type="body" sz="quarter" idx="3"/>
          </p:nvPr>
        </p:nvSpPr>
        <p:spPr>
          <a:xfrm>
            <a:off x="1023463" y="3374431"/>
            <a:ext cx="8187690" cy="3196828"/>
          </a:xfrm>
          <a:prstGeom prst="rect">
            <a:avLst/>
          </a:prstGeom>
        </p:spPr>
        <p:txBody>
          <a:bodyPr vert="horz" wrap="square" lIns="94763" tIns="47381" rIns="94763" bIns="47381"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4" y="6747628"/>
            <a:ext cx="4434999" cy="355203"/>
          </a:xfrm>
          <a:prstGeom prst="rect">
            <a:avLst/>
          </a:prstGeom>
        </p:spPr>
        <p:txBody>
          <a:bodyPr vert="horz" lIns="94763" tIns="47381" rIns="94763" bIns="47381" rtlCol="0" anchor="b"/>
          <a:lstStyle>
            <a:lvl1pPr algn="l" fontAlgn="auto">
              <a:spcBef>
                <a:spcPts val="0"/>
              </a:spcBef>
              <a:spcAft>
                <a:spcPts val="0"/>
              </a:spcAft>
              <a:defRPr sz="13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797250" y="6747628"/>
            <a:ext cx="4434999" cy="355203"/>
          </a:xfrm>
          <a:prstGeom prst="rect">
            <a:avLst/>
          </a:prstGeom>
        </p:spPr>
        <p:txBody>
          <a:bodyPr vert="horz" lIns="94763" tIns="47381" rIns="94763" bIns="47381" rtlCol="0" anchor="b"/>
          <a:lstStyle>
            <a:lvl1pPr algn="r" fontAlgn="auto">
              <a:spcBef>
                <a:spcPts val="0"/>
              </a:spcBef>
              <a:spcAft>
                <a:spcPts val="0"/>
              </a:spcAft>
              <a:defRPr sz="1300">
                <a:latin typeface="+mn-lt"/>
                <a:cs typeface="+mn-cs"/>
              </a:defRPr>
            </a:lvl1pPr>
          </a:lstStyle>
          <a:p>
            <a:pPr>
              <a:defRPr/>
            </a:pPr>
            <a:fld id="{00AFC6D0-44D5-4EB7-828F-6F464F83D79A}" type="slidenum">
              <a:rPr lang="en-GB"/>
              <a:pPr>
                <a:defRPr/>
              </a:pPr>
              <a:t>‹#›</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0" baseline="0"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a:t>
            </a:fld>
            <a:endParaRPr lang="en-GB"/>
          </a:p>
        </p:txBody>
      </p:sp>
    </p:spTree>
    <p:extLst>
      <p:ext uri="{BB962C8B-B14F-4D97-AF65-F5344CB8AC3E}">
        <p14:creationId xmlns:p14="http://schemas.microsoft.com/office/powerpoint/2010/main" val="28402046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png"/><Relationship Id="rId26" Type="http://schemas.openxmlformats.org/officeDocument/2006/relationships/image" Target="../media/image47.png"/><Relationship Id="rId3" Type="http://schemas.openxmlformats.org/officeDocument/2006/relationships/image" Target="../media/image24.svg"/><Relationship Id="rId21" Type="http://schemas.openxmlformats.org/officeDocument/2006/relationships/image" Target="../media/image42.sv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5" Type="http://schemas.openxmlformats.org/officeDocument/2006/relationships/image" Target="../media/image46.sv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Master" Target="../slideMasters/slideMaster2.xml"/><Relationship Id="rId6" Type="http://schemas.openxmlformats.org/officeDocument/2006/relationships/image" Target="../media/image27.png"/><Relationship Id="rId11" Type="http://schemas.openxmlformats.org/officeDocument/2006/relationships/image" Target="../media/image32.svg"/><Relationship Id="rId24" Type="http://schemas.openxmlformats.org/officeDocument/2006/relationships/image" Target="../media/image45.png"/><Relationship Id="rId5" Type="http://schemas.openxmlformats.org/officeDocument/2006/relationships/image" Target="../media/image26.svg"/><Relationship Id="rId15" Type="http://schemas.openxmlformats.org/officeDocument/2006/relationships/image" Target="../media/image36.svg"/><Relationship Id="rId23" Type="http://schemas.openxmlformats.org/officeDocument/2006/relationships/image" Target="../media/image44.svg"/><Relationship Id="rId10" Type="http://schemas.openxmlformats.org/officeDocument/2006/relationships/image" Target="../media/image31.png"/><Relationship Id="rId19" Type="http://schemas.openxmlformats.org/officeDocument/2006/relationships/image" Target="../media/image40.svg"/><Relationship Id="rId4" Type="http://schemas.openxmlformats.org/officeDocument/2006/relationships/image" Target="../media/image25.png"/><Relationship Id="rId9" Type="http://schemas.openxmlformats.org/officeDocument/2006/relationships/image" Target="../media/image30.sv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png"/><Relationship Id="rId26" Type="http://schemas.openxmlformats.org/officeDocument/2006/relationships/image" Target="../media/image47.png"/><Relationship Id="rId3" Type="http://schemas.openxmlformats.org/officeDocument/2006/relationships/image" Target="../media/image24.svg"/><Relationship Id="rId21" Type="http://schemas.openxmlformats.org/officeDocument/2006/relationships/image" Target="../media/image42.sv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5" Type="http://schemas.openxmlformats.org/officeDocument/2006/relationships/image" Target="../media/image46.sv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27.png"/><Relationship Id="rId11" Type="http://schemas.openxmlformats.org/officeDocument/2006/relationships/image" Target="../media/image32.svg"/><Relationship Id="rId24" Type="http://schemas.openxmlformats.org/officeDocument/2006/relationships/image" Target="../media/image45.png"/><Relationship Id="rId5" Type="http://schemas.openxmlformats.org/officeDocument/2006/relationships/image" Target="../media/image26.svg"/><Relationship Id="rId15" Type="http://schemas.openxmlformats.org/officeDocument/2006/relationships/image" Target="../media/image36.svg"/><Relationship Id="rId23" Type="http://schemas.openxmlformats.org/officeDocument/2006/relationships/image" Target="../media/image44.svg"/><Relationship Id="rId10" Type="http://schemas.openxmlformats.org/officeDocument/2006/relationships/image" Target="../media/image31.png"/><Relationship Id="rId19" Type="http://schemas.openxmlformats.org/officeDocument/2006/relationships/image" Target="../media/image40.svg"/><Relationship Id="rId4" Type="http://schemas.openxmlformats.org/officeDocument/2006/relationships/image" Target="../media/image25.png"/><Relationship Id="rId9" Type="http://schemas.openxmlformats.org/officeDocument/2006/relationships/image" Target="../media/image30.sv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7_Start">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319090" y="1296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buFontTx/>
              <a:buNone/>
              <a:defRPr lang="de-DE" sz="2400" noProof="0" dirty="0">
                <a:solidFill>
                  <a:schemeClr val="tx1"/>
                </a:solidFill>
                <a:latin typeface="Arial" panose="020B0604020202020204" pitchFamily="34" charset="0"/>
                <a:cs typeface="Arial" panose="020B0604020202020204" pitchFamily="34" charset="0"/>
              </a:defRPr>
            </a:lvl1pPr>
          </a:lstStyle>
          <a:p>
            <a:pPr lvl="0"/>
            <a:r>
              <a:rPr lang="de-DE" noProof="0" dirty="0"/>
              <a:t>Titel der Präsentation durch Klicken bearbeiten</a:t>
            </a:r>
          </a:p>
        </p:txBody>
      </p:sp>
      <p:sp>
        <p:nvSpPr>
          <p:cNvPr id="7" name="Inhaltsplatzhalter 2"/>
          <p:cNvSpPr>
            <a:spLocks noGrp="1"/>
          </p:cNvSpPr>
          <p:nvPr>
            <p:ph idx="10" hasCustomPrompt="1"/>
          </p:nvPr>
        </p:nvSpPr>
        <p:spPr>
          <a:xfrm>
            <a:off x="319088" y="2160000"/>
            <a:ext cx="8508999" cy="45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1"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Referent</a:t>
            </a:r>
          </a:p>
        </p:txBody>
      </p:sp>
      <p:sp>
        <p:nvSpPr>
          <p:cNvPr id="8" name="Inhaltsplatzhalter 2"/>
          <p:cNvSpPr>
            <a:spLocks noGrp="1"/>
          </p:cNvSpPr>
          <p:nvPr>
            <p:ph idx="11" hasCustomPrompt="1"/>
          </p:nvPr>
        </p:nvSpPr>
        <p:spPr>
          <a:xfrm>
            <a:off x="319088" y="2700000"/>
            <a:ext cx="8508999" cy="10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Ort, Datum (Schreibweise: 00. Januar 2018)</a:t>
            </a:r>
          </a:p>
        </p:txBody>
      </p:sp>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000" y="3744000"/>
            <a:ext cx="1385548" cy="566929"/>
          </a:xfrm>
          <a:prstGeom prst="rect">
            <a:avLst/>
          </a:prstGeom>
        </p:spPr>
      </p:pic>
      <p:pic>
        <p:nvPicPr>
          <p:cNvPr id="9" name="Grafik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44000" y="1872000"/>
            <a:ext cx="3297936" cy="2880360"/>
          </a:xfrm>
          <a:prstGeom prst="rect">
            <a:avLst/>
          </a:prstGeom>
        </p:spPr>
      </p:pic>
    </p:spTree>
    <p:extLst>
      <p:ext uri="{BB962C8B-B14F-4D97-AF65-F5344CB8AC3E}">
        <p14:creationId xmlns:p14="http://schemas.microsoft.com/office/powerpoint/2010/main" val="326694030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siness_Modelling_Canvas">
    <p:spTree>
      <p:nvGrpSpPr>
        <p:cNvPr id="1" name=""/>
        <p:cNvGrpSpPr/>
        <p:nvPr/>
      </p:nvGrpSpPr>
      <p:grpSpPr>
        <a:xfrm>
          <a:off x="0" y="0"/>
          <a:ext cx="0" cy="0"/>
          <a:chOff x="0" y="0"/>
          <a:chExt cx="0" cy="0"/>
        </a:xfrm>
      </p:grpSpPr>
      <p:sp>
        <p:nvSpPr>
          <p:cNvPr id="10" name="Rechteck: obere Ecken, eine abgerundet, eine abgeschnitten 5">
            <a:extLst>
              <a:ext uri="{FF2B5EF4-FFF2-40B4-BE49-F238E27FC236}">
                <a16:creationId xmlns:a16="http://schemas.microsoft.com/office/drawing/2014/main" id="{BE724D82-873C-DAE0-9827-566CA0D32DBD}"/>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2" name="Rechteck 7">
            <a:extLst>
              <a:ext uri="{FF2B5EF4-FFF2-40B4-BE49-F238E27FC236}">
                <a16:creationId xmlns:a16="http://schemas.microsoft.com/office/drawing/2014/main" id="{2C900378-EF88-67B4-65A3-A0B1F162F4B9}"/>
              </a:ext>
            </a:extLst>
          </p:cNvPr>
          <p:cNvSpPr/>
          <p:nvPr userDrawn="1"/>
        </p:nvSpPr>
        <p:spPr>
          <a:xfrm>
            <a:off x="270933" y="0"/>
            <a:ext cx="1507072" cy="400110"/>
          </a:xfrm>
          <a:prstGeom prst="rect">
            <a:avLst/>
          </a:prstGeom>
        </p:spPr>
        <p:txBody>
          <a:bodyPr wrap="square">
            <a:spAutoFit/>
          </a:bodyPr>
          <a:lstStyle/>
          <a:p>
            <a:pPr defTabSz="1023614"/>
            <a:r>
              <a:rPr lang="en-US" sz="1000" b="1" dirty="0">
                <a:solidFill>
                  <a:schemeClr val="tx2"/>
                </a:solidFill>
              </a:rPr>
              <a:t>WHAT </a:t>
            </a:r>
            <a:r>
              <a:rPr lang="en-US" sz="1000" b="0" dirty="0">
                <a:solidFill>
                  <a:schemeClr val="tx2"/>
                </a:solidFill>
              </a:rPr>
              <a:t>is the </a:t>
            </a:r>
            <a:r>
              <a:rPr lang="en-US" sz="1000" b="1" dirty="0">
                <a:solidFill>
                  <a:schemeClr val="tx2"/>
                </a:solidFill>
              </a:rPr>
              <a:t>business model</a:t>
            </a:r>
            <a:r>
              <a:rPr lang="en-US" sz="1000" b="0" dirty="0">
                <a:solidFill>
                  <a:schemeClr val="tx2"/>
                </a:solidFill>
              </a:rPr>
              <a:t>?</a:t>
            </a:r>
            <a:endParaRPr lang="en-US" sz="1000" dirty="0">
              <a:solidFill>
                <a:schemeClr val="tx2"/>
              </a:solidFill>
            </a:endParaRPr>
          </a:p>
        </p:txBody>
      </p:sp>
      <p:pic>
        <p:nvPicPr>
          <p:cNvPr id="8" name="Graphic 7" descr="Loan outline">
            <a:extLst>
              <a:ext uri="{FF2B5EF4-FFF2-40B4-BE49-F238E27FC236}">
                <a16:creationId xmlns:a16="http://schemas.microsoft.com/office/drawing/2014/main" id="{9FF20EAB-490F-1F20-559A-AE0728EFDE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368" y="56055"/>
            <a:ext cx="288000" cy="288000"/>
          </a:xfrm>
          <a:prstGeom prst="rect">
            <a:avLst/>
          </a:prstGeom>
        </p:spPr>
      </p:pic>
      <p:sp>
        <p:nvSpPr>
          <p:cNvPr id="11" name="Action Button: Go Home 10">
            <a:hlinkClick r:id="" action="ppaction://hlinkshowjump?jump=firstslide" highlightClick="1"/>
            <a:extLst>
              <a:ext uri="{FF2B5EF4-FFF2-40B4-BE49-F238E27FC236}">
                <a16:creationId xmlns:a16="http://schemas.microsoft.com/office/drawing/2014/main" id="{BC46862B-6348-8EC5-F6AA-701D7F6F27FD}"/>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2" name="Action Button: Go Back or Previous 11">
            <a:hlinkClick r:id="" action="ppaction://hlinkshowjump?jump=lastslideviewed" highlightClick="1"/>
            <a:extLst>
              <a:ext uri="{FF2B5EF4-FFF2-40B4-BE49-F238E27FC236}">
                <a16:creationId xmlns:a16="http://schemas.microsoft.com/office/drawing/2014/main" id="{34CDBCD8-80C4-02EF-E48D-F4DFC9F9A5D6}"/>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3" name="Action Button: Go Forward or Next 12">
            <a:hlinkClick r:id="" action="ppaction://hlinkshowjump?jump=nextslide" highlightClick="1"/>
            <a:extLst>
              <a:ext uri="{FF2B5EF4-FFF2-40B4-BE49-F238E27FC236}">
                <a16:creationId xmlns:a16="http://schemas.microsoft.com/office/drawing/2014/main" id="{5071FA5C-D937-2E89-198F-0497E528DBD6}"/>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4" name="Title 158">
            <a:extLst>
              <a:ext uri="{FF2B5EF4-FFF2-40B4-BE49-F238E27FC236}">
                <a16:creationId xmlns:a16="http://schemas.microsoft.com/office/drawing/2014/main" id="{E774FD7B-960E-2237-5156-8F9BFD97F9A0}"/>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3" name="Rectangle: Rounded Corners 2">
            <a:extLst>
              <a:ext uri="{FF2B5EF4-FFF2-40B4-BE49-F238E27FC236}">
                <a16:creationId xmlns:a16="http://schemas.microsoft.com/office/drawing/2014/main" id="{29367559-EE75-E642-A690-D0D229DF2C71}"/>
              </a:ext>
            </a:extLst>
          </p:cNvPr>
          <p:cNvSpPr/>
          <p:nvPr userDrawn="1"/>
        </p:nvSpPr>
        <p:spPr>
          <a:xfrm>
            <a:off x="46040" y="743125"/>
            <a:ext cx="9055099" cy="4353310"/>
          </a:xfrm>
          <a:prstGeom prst="roundRect">
            <a:avLst>
              <a:gd name="adj" fmla="val 1156"/>
            </a:avLst>
          </a:prstGeom>
          <a:solidFill>
            <a:schemeClr val="bg1">
              <a:lumMod val="95000"/>
              <a:alpha val="10000"/>
            </a:schemeClr>
          </a:solidFill>
          <a:ln w="2540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b="1">
              <a:latin typeface="+mj-lt"/>
            </a:endParaRPr>
          </a:p>
        </p:txBody>
      </p:sp>
      <p:cxnSp>
        <p:nvCxnSpPr>
          <p:cNvPr id="4" name="Straight Connector 3">
            <a:extLst>
              <a:ext uri="{FF2B5EF4-FFF2-40B4-BE49-F238E27FC236}">
                <a16:creationId xmlns:a16="http://schemas.microsoft.com/office/drawing/2014/main" id="{E3F6FEB1-765F-7CDD-478C-1E680CD29023}"/>
              </a:ext>
            </a:extLst>
          </p:cNvPr>
          <p:cNvCxnSpPr>
            <a:cxnSpLocks/>
          </p:cNvCxnSpPr>
          <p:nvPr userDrawn="1"/>
        </p:nvCxnSpPr>
        <p:spPr>
          <a:xfrm>
            <a:off x="100559" y="4013947"/>
            <a:ext cx="894606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 name="Straight Connector 4">
            <a:extLst>
              <a:ext uri="{FF2B5EF4-FFF2-40B4-BE49-F238E27FC236}">
                <a16:creationId xmlns:a16="http://schemas.microsoft.com/office/drawing/2014/main" id="{F622FE6E-20B0-BAA0-B112-6C8D27DBF86A}"/>
              </a:ext>
            </a:extLst>
          </p:cNvPr>
          <p:cNvCxnSpPr>
            <a:cxnSpLocks/>
          </p:cNvCxnSpPr>
          <p:nvPr userDrawn="1"/>
        </p:nvCxnSpPr>
        <p:spPr>
          <a:xfrm flipV="1">
            <a:off x="185706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Connector 5">
            <a:extLst>
              <a:ext uri="{FF2B5EF4-FFF2-40B4-BE49-F238E27FC236}">
                <a16:creationId xmlns:a16="http://schemas.microsoft.com/office/drawing/2014/main" id="{7DF87C59-9954-4AA5-E48F-7A8692F4556D}"/>
              </a:ext>
            </a:extLst>
          </p:cNvPr>
          <p:cNvCxnSpPr>
            <a:cxnSpLocks/>
          </p:cNvCxnSpPr>
          <p:nvPr userDrawn="1"/>
        </p:nvCxnSpPr>
        <p:spPr>
          <a:xfrm flipV="1">
            <a:off x="366808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B4F72ED5-2506-6E19-A46E-26B55AD82400}"/>
              </a:ext>
            </a:extLst>
          </p:cNvPr>
          <p:cNvCxnSpPr>
            <a:cxnSpLocks/>
          </p:cNvCxnSpPr>
          <p:nvPr userDrawn="1"/>
        </p:nvCxnSpPr>
        <p:spPr>
          <a:xfrm flipV="1">
            <a:off x="547910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BA0E4A58-5E11-B85A-2926-50FF2624ADF5}"/>
              </a:ext>
            </a:extLst>
          </p:cNvPr>
          <p:cNvCxnSpPr>
            <a:cxnSpLocks/>
          </p:cNvCxnSpPr>
          <p:nvPr userDrawn="1"/>
        </p:nvCxnSpPr>
        <p:spPr>
          <a:xfrm flipV="1">
            <a:off x="729012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8FBD554D-991A-79DC-9E6E-DFB17E06201B}"/>
              </a:ext>
            </a:extLst>
          </p:cNvPr>
          <p:cNvCxnSpPr>
            <a:cxnSpLocks/>
          </p:cNvCxnSpPr>
          <p:nvPr userDrawn="1"/>
        </p:nvCxnSpPr>
        <p:spPr>
          <a:xfrm>
            <a:off x="1898570" y="1833399"/>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F7157418-A781-BE13-D035-B32AF0ABD66F}"/>
              </a:ext>
            </a:extLst>
          </p:cNvPr>
          <p:cNvCxnSpPr>
            <a:cxnSpLocks/>
          </p:cNvCxnSpPr>
          <p:nvPr userDrawn="1"/>
        </p:nvCxnSpPr>
        <p:spPr>
          <a:xfrm>
            <a:off x="1898570" y="2923673"/>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23BEC4C2-DB32-FF92-9322-ECD855BCEA29}"/>
              </a:ext>
            </a:extLst>
          </p:cNvPr>
          <p:cNvCxnSpPr>
            <a:cxnSpLocks/>
          </p:cNvCxnSpPr>
          <p:nvPr userDrawn="1"/>
        </p:nvCxnSpPr>
        <p:spPr>
          <a:xfrm>
            <a:off x="87550" y="2378536"/>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D6739B77-1B73-4818-199A-87878C4275F9}"/>
              </a:ext>
            </a:extLst>
          </p:cNvPr>
          <p:cNvCxnSpPr>
            <a:cxnSpLocks/>
          </p:cNvCxnSpPr>
          <p:nvPr userDrawn="1"/>
        </p:nvCxnSpPr>
        <p:spPr>
          <a:xfrm>
            <a:off x="5520610" y="1833399"/>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EC7525B9-269E-69CC-ACA6-C5C206DE058C}"/>
              </a:ext>
            </a:extLst>
          </p:cNvPr>
          <p:cNvCxnSpPr>
            <a:cxnSpLocks/>
          </p:cNvCxnSpPr>
          <p:nvPr userDrawn="1"/>
        </p:nvCxnSpPr>
        <p:spPr>
          <a:xfrm>
            <a:off x="5520610" y="2923673"/>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3D965581-5546-8B83-7DE3-5FF5136109A0}"/>
              </a:ext>
            </a:extLst>
          </p:cNvPr>
          <p:cNvCxnSpPr>
            <a:cxnSpLocks/>
          </p:cNvCxnSpPr>
          <p:nvPr userDrawn="1"/>
        </p:nvCxnSpPr>
        <p:spPr>
          <a:xfrm flipH="1" flipV="1">
            <a:off x="4570516" y="4054287"/>
            <a:ext cx="6147" cy="1001807"/>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2" name="TextBox 21">
            <a:extLst>
              <a:ext uri="{FF2B5EF4-FFF2-40B4-BE49-F238E27FC236}">
                <a16:creationId xmlns:a16="http://schemas.microsoft.com/office/drawing/2014/main" id="{D7E7C16C-01F9-1149-23D7-CC5E1BDB039F}"/>
              </a:ext>
            </a:extLst>
          </p:cNvPr>
          <p:cNvSpPr txBox="1"/>
          <p:nvPr userDrawn="1"/>
        </p:nvSpPr>
        <p:spPr>
          <a:xfrm>
            <a:off x="375550" y="841104"/>
            <a:ext cx="1288576"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Partners</a:t>
            </a:r>
          </a:p>
        </p:txBody>
      </p:sp>
      <p:sp>
        <p:nvSpPr>
          <p:cNvPr id="23" name="TextBox 22">
            <a:extLst>
              <a:ext uri="{FF2B5EF4-FFF2-40B4-BE49-F238E27FC236}">
                <a16:creationId xmlns:a16="http://schemas.microsoft.com/office/drawing/2014/main" id="{1C52900E-3A24-AC6C-36A0-D2273CFA67D0}"/>
              </a:ext>
            </a:extLst>
          </p:cNvPr>
          <p:cNvSpPr txBox="1"/>
          <p:nvPr userDrawn="1"/>
        </p:nvSpPr>
        <p:spPr>
          <a:xfrm>
            <a:off x="375550" y="2449963"/>
            <a:ext cx="1288576"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Buy-In / Support</a:t>
            </a:r>
          </a:p>
        </p:txBody>
      </p:sp>
      <p:sp>
        <p:nvSpPr>
          <p:cNvPr id="24" name="TextBox 23">
            <a:extLst>
              <a:ext uri="{FF2B5EF4-FFF2-40B4-BE49-F238E27FC236}">
                <a16:creationId xmlns:a16="http://schemas.microsoft.com/office/drawing/2014/main" id="{9DC6139C-9827-6E68-0182-4D6B4B4C043D}"/>
              </a:ext>
            </a:extLst>
          </p:cNvPr>
          <p:cNvSpPr txBox="1"/>
          <p:nvPr userDrawn="1"/>
        </p:nvSpPr>
        <p:spPr>
          <a:xfrm>
            <a:off x="375550" y="4085372"/>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ost Structure / Budget</a:t>
            </a:r>
          </a:p>
        </p:txBody>
      </p:sp>
      <p:sp>
        <p:nvSpPr>
          <p:cNvPr id="25" name="TextBox 24">
            <a:extLst>
              <a:ext uri="{FF2B5EF4-FFF2-40B4-BE49-F238E27FC236}">
                <a16:creationId xmlns:a16="http://schemas.microsoft.com/office/drawing/2014/main" id="{950083E4-8302-B373-6EE0-8984BD441C51}"/>
              </a:ext>
            </a:extLst>
          </p:cNvPr>
          <p:cNvSpPr txBox="1"/>
          <p:nvPr userDrawn="1"/>
        </p:nvSpPr>
        <p:spPr>
          <a:xfrm>
            <a:off x="4873756" y="4085372"/>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Revenue Streams</a:t>
            </a:r>
          </a:p>
        </p:txBody>
      </p:sp>
      <p:sp>
        <p:nvSpPr>
          <p:cNvPr id="26" name="TextBox 25">
            <a:extLst>
              <a:ext uri="{FF2B5EF4-FFF2-40B4-BE49-F238E27FC236}">
                <a16:creationId xmlns:a16="http://schemas.microsoft.com/office/drawing/2014/main" id="{527C5DA5-02CC-1A92-1E06-23FC2ACD8564}"/>
              </a:ext>
            </a:extLst>
          </p:cNvPr>
          <p:cNvSpPr txBox="1"/>
          <p:nvPr userDrawn="1"/>
        </p:nvSpPr>
        <p:spPr>
          <a:xfrm>
            <a:off x="2175296" y="2995100"/>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Data Resources</a:t>
            </a:r>
          </a:p>
        </p:txBody>
      </p:sp>
      <p:sp>
        <p:nvSpPr>
          <p:cNvPr id="27" name="TextBox 26">
            <a:extLst>
              <a:ext uri="{FF2B5EF4-FFF2-40B4-BE49-F238E27FC236}">
                <a16:creationId xmlns:a16="http://schemas.microsoft.com/office/drawing/2014/main" id="{422C7BCE-2218-A49A-7DB6-30A84CFA7360}"/>
              </a:ext>
            </a:extLst>
          </p:cNvPr>
          <p:cNvSpPr txBox="1"/>
          <p:nvPr userDrawn="1"/>
        </p:nvSpPr>
        <p:spPr>
          <a:xfrm>
            <a:off x="2175296" y="1917779"/>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Resources</a:t>
            </a:r>
          </a:p>
        </p:txBody>
      </p:sp>
      <p:sp>
        <p:nvSpPr>
          <p:cNvPr id="28" name="TextBox 27">
            <a:extLst>
              <a:ext uri="{FF2B5EF4-FFF2-40B4-BE49-F238E27FC236}">
                <a16:creationId xmlns:a16="http://schemas.microsoft.com/office/drawing/2014/main" id="{9B75D3A8-39E6-FF90-C5D7-EB28AFF78B2C}"/>
              </a:ext>
            </a:extLst>
          </p:cNvPr>
          <p:cNvSpPr txBox="1"/>
          <p:nvPr userDrawn="1"/>
        </p:nvSpPr>
        <p:spPr>
          <a:xfrm>
            <a:off x="2175296" y="841104"/>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Activities</a:t>
            </a:r>
          </a:p>
        </p:txBody>
      </p:sp>
      <p:sp>
        <p:nvSpPr>
          <p:cNvPr id="29" name="TextBox 28">
            <a:extLst>
              <a:ext uri="{FF2B5EF4-FFF2-40B4-BE49-F238E27FC236}">
                <a16:creationId xmlns:a16="http://schemas.microsoft.com/office/drawing/2014/main" id="{880BBAD8-4238-5A0D-2FB4-B3C22D4B7121}"/>
              </a:ext>
            </a:extLst>
          </p:cNvPr>
          <p:cNvSpPr txBox="1"/>
          <p:nvPr userDrawn="1"/>
        </p:nvSpPr>
        <p:spPr>
          <a:xfrm>
            <a:off x="3986316" y="841104"/>
            <a:ext cx="1582264"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Value Propositions</a:t>
            </a:r>
          </a:p>
        </p:txBody>
      </p:sp>
      <p:sp>
        <p:nvSpPr>
          <p:cNvPr id="30" name="TextBox 29">
            <a:extLst>
              <a:ext uri="{FF2B5EF4-FFF2-40B4-BE49-F238E27FC236}">
                <a16:creationId xmlns:a16="http://schemas.microsoft.com/office/drawing/2014/main" id="{C5E8F621-2A45-1C4D-F52A-B3422D91A4AD}"/>
              </a:ext>
            </a:extLst>
          </p:cNvPr>
          <p:cNvSpPr txBox="1"/>
          <p:nvPr userDrawn="1"/>
        </p:nvSpPr>
        <p:spPr>
          <a:xfrm>
            <a:off x="5774720" y="744604"/>
            <a:ext cx="1916045" cy="368627"/>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ustomer </a:t>
            </a:r>
          </a:p>
          <a:p>
            <a:pPr marL="72000" algn="l">
              <a:lnSpc>
                <a:spcPct val="114000"/>
              </a:lnSpc>
            </a:pPr>
            <a:r>
              <a:rPr lang="en-US" sz="1100" b="1">
                <a:solidFill>
                  <a:schemeClr val="bg1">
                    <a:lumMod val="95000"/>
                  </a:schemeClr>
                </a:solidFill>
                <a:latin typeface="+mj-lt"/>
              </a:rPr>
              <a:t>Relationships</a:t>
            </a:r>
          </a:p>
        </p:txBody>
      </p:sp>
      <p:sp>
        <p:nvSpPr>
          <p:cNvPr id="31" name="TextBox 30">
            <a:extLst>
              <a:ext uri="{FF2B5EF4-FFF2-40B4-BE49-F238E27FC236}">
                <a16:creationId xmlns:a16="http://schemas.microsoft.com/office/drawing/2014/main" id="{D1A3A9E6-976E-E14A-FC6F-E6955578606D}"/>
              </a:ext>
            </a:extLst>
          </p:cNvPr>
          <p:cNvSpPr txBox="1"/>
          <p:nvPr userDrawn="1"/>
        </p:nvSpPr>
        <p:spPr>
          <a:xfrm>
            <a:off x="5774720" y="1917779"/>
            <a:ext cx="1916045"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hannels</a:t>
            </a:r>
          </a:p>
        </p:txBody>
      </p:sp>
      <p:sp>
        <p:nvSpPr>
          <p:cNvPr id="32" name="TextBox 31">
            <a:extLst>
              <a:ext uri="{FF2B5EF4-FFF2-40B4-BE49-F238E27FC236}">
                <a16:creationId xmlns:a16="http://schemas.microsoft.com/office/drawing/2014/main" id="{842DBA7D-2AD8-56D2-79A5-11D86FDCE195}"/>
              </a:ext>
            </a:extLst>
          </p:cNvPr>
          <p:cNvSpPr txBox="1"/>
          <p:nvPr userDrawn="1"/>
        </p:nvSpPr>
        <p:spPr>
          <a:xfrm>
            <a:off x="5774720" y="2995100"/>
            <a:ext cx="1916045"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Data Insights</a:t>
            </a:r>
          </a:p>
        </p:txBody>
      </p:sp>
      <p:pic>
        <p:nvPicPr>
          <p:cNvPr id="33" name="Grafik 41" descr="Zielgruppe Silhouette">
            <a:extLst>
              <a:ext uri="{FF2B5EF4-FFF2-40B4-BE49-F238E27FC236}">
                <a16:creationId xmlns:a16="http://schemas.microsoft.com/office/drawing/2014/main" id="{05934E1D-2034-78F5-1D07-0F8F3E12CA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8936" y="784917"/>
            <a:ext cx="288000" cy="288000"/>
          </a:xfrm>
          <a:prstGeom prst="rect">
            <a:avLst/>
          </a:prstGeom>
        </p:spPr>
      </p:pic>
      <p:pic>
        <p:nvPicPr>
          <p:cNvPr id="34" name="Grafik 45" descr="Statistiken Silhouette">
            <a:extLst>
              <a:ext uri="{FF2B5EF4-FFF2-40B4-BE49-F238E27FC236}">
                <a16:creationId xmlns:a16="http://schemas.microsoft.com/office/drawing/2014/main" id="{E4378AFA-F9A4-9128-85A0-3D81C81E48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flipH="1">
            <a:off x="5486720" y="2938913"/>
            <a:ext cx="288000" cy="288000"/>
          </a:xfrm>
          <a:prstGeom prst="rect">
            <a:avLst/>
          </a:prstGeom>
        </p:spPr>
      </p:pic>
      <p:pic>
        <p:nvPicPr>
          <p:cNvPr id="35" name="Grafik 48" descr="Telearbeit Silhouette">
            <a:extLst>
              <a:ext uri="{FF2B5EF4-FFF2-40B4-BE49-F238E27FC236}">
                <a16:creationId xmlns:a16="http://schemas.microsoft.com/office/drawing/2014/main" id="{44649D5B-94FF-FC53-6B64-0F4A53354D1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7550" y="2393776"/>
            <a:ext cx="288000" cy="288000"/>
          </a:xfrm>
          <a:prstGeom prst="rect">
            <a:avLst/>
          </a:prstGeom>
        </p:spPr>
      </p:pic>
      <p:pic>
        <p:nvPicPr>
          <p:cNvPr id="36" name="Grafik 49" descr="Callcenter Silhouette">
            <a:extLst>
              <a:ext uri="{FF2B5EF4-FFF2-40B4-BE49-F238E27FC236}">
                <a16:creationId xmlns:a16="http://schemas.microsoft.com/office/drawing/2014/main" id="{D28EE064-6E2A-74B0-04C4-29DBFE875C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486720" y="784917"/>
            <a:ext cx="288000" cy="288000"/>
          </a:xfrm>
          <a:prstGeom prst="rect">
            <a:avLst/>
          </a:prstGeom>
        </p:spPr>
      </p:pic>
      <p:pic>
        <p:nvPicPr>
          <p:cNvPr id="37" name="Grafik 50" descr="Freisprechanlage Silhouette">
            <a:extLst>
              <a:ext uri="{FF2B5EF4-FFF2-40B4-BE49-F238E27FC236}">
                <a16:creationId xmlns:a16="http://schemas.microsoft.com/office/drawing/2014/main" id="{E60A3289-DB8F-8A14-30BA-1EB3641605D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486720" y="1861592"/>
            <a:ext cx="288000" cy="288000"/>
          </a:xfrm>
          <a:prstGeom prst="rect">
            <a:avLst/>
          </a:prstGeom>
        </p:spPr>
      </p:pic>
      <p:pic>
        <p:nvPicPr>
          <p:cNvPr id="38" name="Graphic 37" descr="Flowchart outline">
            <a:extLst>
              <a:ext uri="{FF2B5EF4-FFF2-40B4-BE49-F238E27FC236}">
                <a16:creationId xmlns:a16="http://schemas.microsoft.com/office/drawing/2014/main" id="{F3D87808-0072-ECE2-F4F4-4D20F241986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887296" y="784917"/>
            <a:ext cx="288000" cy="288000"/>
          </a:xfrm>
          <a:prstGeom prst="rect">
            <a:avLst/>
          </a:prstGeom>
        </p:spPr>
      </p:pic>
      <p:pic>
        <p:nvPicPr>
          <p:cNvPr id="39" name="Graphic 38" descr="Raw Materials outline">
            <a:extLst>
              <a:ext uri="{FF2B5EF4-FFF2-40B4-BE49-F238E27FC236}">
                <a16:creationId xmlns:a16="http://schemas.microsoft.com/office/drawing/2014/main" id="{4A2E9C2B-FFD5-FA1E-720C-5549565686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887296" y="1861592"/>
            <a:ext cx="288000" cy="288000"/>
          </a:xfrm>
          <a:prstGeom prst="rect">
            <a:avLst/>
          </a:prstGeom>
        </p:spPr>
      </p:pic>
      <p:pic>
        <p:nvPicPr>
          <p:cNvPr id="40" name="Graphic 39" descr="Cheers outline">
            <a:extLst>
              <a:ext uri="{FF2B5EF4-FFF2-40B4-BE49-F238E27FC236}">
                <a16:creationId xmlns:a16="http://schemas.microsoft.com/office/drawing/2014/main" id="{3F791D11-6CE6-BF85-3926-1B44E5A32E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7550" y="784917"/>
            <a:ext cx="288000" cy="288000"/>
          </a:xfrm>
          <a:prstGeom prst="rect">
            <a:avLst/>
          </a:prstGeom>
        </p:spPr>
      </p:pic>
      <p:pic>
        <p:nvPicPr>
          <p:cNvPr id="41" name="Graphic 40" descr="Open hand with plant outline">
            <a:extLst>
              <a:ext uri="{FF2B5EF4-FFF2-40B4-BE49-F238E27FC236}">
                <a16:creationId xmlns:a16="http://schemas.microsoft.com/office/drawing/2014/main" id="{313E886F-345A-7449-C1C6-64468EE09475}"/>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3698316" y="784917"/>
            <a:ext cx="288000" cy="288000"/>
          </a:xfrm>
          <a:prstGeom prst="rect">
            <a:avLst/>
          </a:prstGeom>
        </p:spPr>
      </p:pic>
      <p:pic>
        <p:nvPicPr>
          <p:cNvPr id="42" name="Graphic 41" descr="Coins outline">
            <a:extLst>
              <a:ext uri="{FF2B5EF4-FFF2-40B4-BE49-F238E27FC236}">
                <a16:creationId xmlns:a16="http://schemas.microsoft.com/office/drawing/2014/main" id="{47F90CB1-BA91-E960-B594-CDD9B5CF0C6C}"/>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550" y="4029186"/>
            <a:ext cx="288000" cy="288000"/>
          </a:xfrm>
          <a:prstGeom prst="rect">
            <a:avLst/>
          </a:prstGeom>
        </p:spPr>
      </p:pic>
      <p:pic>
        <p:nvPicPr>
          <p:cNvPr id="43" name="Graphic 42" descr="Usb Stick outline">
            <a:extLst>
              <a:ext uri="{FF2B5EF4-FFF2-40B4-BE49-F238E27FC236}">
                <a16:creationId xmlns:a16="http://schemas.microsoft.com/office/drawing/2014/main" id="{0F35D592-3697-CD8F-E5BA-2BD19C48E87D}"/>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887296" y="2938913"/>
            <a:ext cx="288000" cy="288000"/>
          </a:xfrm>
          <a:prstGeom prst="rect">
            <a:avLst/>
          </a:prstGeom>
        </p:spPr>
      </p:pic>
      <p:pic>
        <p:nvPicPr>
          <p:cNvPr id="44" name="Graphic 43" descr="Loan outline">
            <a:extLst>
              <a:ext uri="{FF2B5EF4-FFF2-40B4-BE49-F238E27FC236}">
                <a16:creationId xmlns:a16="http://schemas.microsoft.com/office/drawing/2014/main" id="{364C8F98-2CAF-C197-20D1-4F9009DA836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4585756" y="4029186"/>
            <a:ext cx="288000" cy="288000"/>
          </a:xfrm>
          <a:prstGeom prst="rect">
            <a:avLst/>
          </a:prstGeom>
        </p:spPr>
      </p:pic>
      <p:sp>
        <p:nvSpPr>
          <p:cNvPr id="45" name="TextBox 44">
            <a:extLst>
              <a:ext uri="{FF2B5EF4-FFF2-40B4-BE49-F238E27FC236}">
                <a16:creationId xmlns:a16="http://schemas.microsoft.com/office/drawing/2014/main" id="{49154ADA-4C18-07BB-F4D5-F51C9C5A1DA2}"/>
              </a:ext>
            </a:extLst>
          </p:cNvPr>
          <p:cNvSpPr txBox="1"/>
          <p:nvPr userDrawn="1"/>
        </p:nvSpPr>
        <p:spPr>
          <a:xfrm>
            <a:off x="74879" y="476077"/>
            <a:ext cx="2454745" cy="223523"/>
          </a:xfrm>
          <a:prstGeom prst="rect">
            <a:avLst/>
          </a:prstGeom>
          <a:noFill/>
        </p:spPr>
        <p:txBody>
          <a:bodyPr wrap="square" lIns="0" tIns="0" rIns="0" bIns="0" rtlCol="0">
            <a:spAutoFit/>
          </a:bodyPr>
          <a:lstStyle/>
          <a:p>
            <a:pPr algn="ctr">
              <a:lnSpc>
                <a:spcPct val="114000"/>
              </a:lnSpc>
            </a:pPr>
            <a:r>
              <a:rPr lang="en-US" sz="1400" b="1" dirty="0">
                <a:solidFill>
                  <a:schemeClr val="bg1">
                    <a:lumMod val="95000"/>
                  </a:schemeClr>
                </a:solidFill>
                <a:latin typeface="+mj-lt"/>
              </a:rPr>
              <a:t>Business Modelling Canvas</a:t>
            </a:r>
          </a:p>
        </p:txBody>
      </p:sp>
    </p:spTree>
    <p:extLst>
      <p:ext uri="{BB962C8B-B14F-4D97-AF65-F5344CB8AC3E}">
        <p14:creationId xmlns:p14="http://schemas.microsoft.com/office/powerpoint/2010/main" val="663361007"/>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plementation_Roadmap">
    <p:spTree>
      <p:nvGrpSpPr>
        <p:cNvPr id="1" name=""/>
        <p:cNvGrpSpPr/>
        <p:nvPr/>
      </p:nvGrpSpPr>
      <p:grpSpPr>
        <a:xfrm>
          <a:off x="0" y="0"/>
          <a:ext cx="0" cy="0"/>
          <a:chOff x="0" y="0"/>
          <a:chExt cx="0" cy="0"/>
        </a:xfrm>
      </p:grpSpPr>
      <p:sp>
        <p:nvSpPr>
          <p:cNvPr id="3" name="Rechteck: obere Ecken, eine abgerundet, eine abgeschnitten 5">
            <a:extLst>
              <a:ext uri="{FF2B5EF4-FFF2-40B4-BE49-F238E27FC236}">
                <a16:creationId xmlns:a16="http://schemas.microsoft.com/office/drawing/2014/main" id="{78078812-2671-674A-88A0-F341A8F6414E}"/>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4" name="Action Button: Go Home 3">
            <a:hlinkClick r:id="" action="ppaction://hlinkshowjump?jump=firstslide" highlightClick="1"/>
            <a:extLst>
              <a:ext uri="{FF2B5EF4-FFF2-40B4-BE49-F238E27FC236}">
                <a16:creationId xmlns:a16="http://schemas.microsoft.com/office/drawing/2014/main" id="{6D9B1AAF-9471-CD2B-5FAA-A04D89FBAA44}"/>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5" name="Action Button: Go Back or Previous 4">
            <a:hlinkClick r:id="" action="ppaction://hlinkshowjump?jump=lastslideviewed" highlightClick="1"/>
            <a:extLst>
              <a:ext uri="{FF2B5EF4-FFF2-40B4-BE49-F238E27FC236}">
                <a16:creationId xmlns:a16="http://schemas.microsoft.com/office/drawing/2014/main" id="{D9122C82-5F8F-27F9-052F-53B1BF9BB4D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6" name="Action Button: Go Forward or Next 5">
            <a:hlinkClick r:id="" action="ppaction://hlinkshowjump?jump=nextslide" highlightClick="1"/>
            <a:extLst>
              <a:ext uri="{FF2B5EF4-FFF2-40B4-BE49-F238E27FC236}">
                <a16:creationId xmlns:a16="http://schemas.microsoft.com/office/drawing/2014/main" id="{7B22BCB9-F127-D038-3A34-F88D9F708F21}"/>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 name="Title 158">
            <a:extLst>
              <a:ext uri="{FF2B5EF4-FFF2-40B4-BE49-F238E27FC236}">
                <a16:creationId xmlns:a16="http://schemas.microsoft.com/office/drawing/2014/main" id="{4627C36D-33D8-C04C-7D9F-3946D82E630A}"/>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8" name="Rechteck 7">
            <a:extLst>
              <a:ext uri="{FF2B5EF4-FFF2-40B4-BE49-F238E27FC236}">
                <a16:creationId xmlns:a16="http://schemas.microsoft.com/office/drawing/2014/main" id="{6255C0E2-41CA-5374-812A-C57DBA1A39D0}"/>
              </a:ext>
            </a:extLst>
          </p:cNvPr>
          <p:cNvSpPr/>
          <p:nvPr userDrawn="1"/>
        </p:nvSpPr>
        <p:spPr>
          <a:xfrm>
            <a:off x="202948" y="0"/>
            <a:ext cx="1575056" cy="400110"/>
          </a:xfrm>
          <a:prstGeom prst="rect">
            <a:avLst/>
          </a:prstGeom>
        </p:spPr>
        <p:txBody>
          <a:bodyPr wrap="square">
            <a:spAutoFit/>
          </a:bodyPr>
          <a:lstStyle/>
          <a:p>
            <a:pPr defTabSz="1023614"/>
            <a:r>
              <a:rPr lang="en-US" sz="1000" b="1" dirty="0">
                <a:solidFill>
                  <a:schemeClr val="tx2"/>
                </a:solidFill>
              </a:rPr>
              <a:t>HOW </a:t>
            </a:r>
            <a:r>
              <a:rPr lang="en-US" sz="1000" b="0" dirty="0">
                <a:solidFill>
                  <a:schemeClr val="tx2"/>
                </a:solidFill>
              </a:rPr>
              <a:t>should the use case be </a:t>
            </a:r>
            <a:r>
              <a:rPr lang="en-US" sz="1000" b="1" dirty="0">
                <a:solidFill>
                  <a:schemeClr val="tx2"/>
                </a:solidFill>
              </a:rPr>
              <a:t>implemented?</a:t>
            </a:r>
            <a:endParaRPr lang="en-US" sz="1000" dirty="0">
              <a:solidFill>
                <a:schemeClr val="tx2"/>
              </a:solidFill>
            </a:endParaRPr>
          </a:p>
        </p:txBody>
      </p:sp>
      <p:pic>
        <p:nvPicPr>
          <p:cNvPr id="9" name="Graphic 8" descr="Lightbulb and gear outline">
            <a:extLst>
              <a:ext uri="{FF2B5EF4-FFF2-40B4-BE49-F238E27FC236}">
                <a16:creationId xmlns:a16="http://schemas.microsoft.com/office/drawing/2014/main" id="{C78285EE-82EC-C351-FC62-CB1278DAD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Tree>
    <p:extLst>
      <p:ext uri="{BB962C8B-B14F-4D97-AF65-F5344CB8AC3E}">
        <p14:creationId xmlns:p14="http://schemas.microsoft.com/office/powerpoint/2010/main" val="289916325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ditional-Information">
    <p:spTree>
      <p:nvGrpSpPr>
        <p:cNvPr id="1" name=""/>
        <p:cNvGrpSpPr/>
        <p:nvPr/>
      </p:nvGrpSpPr>
      <p:grpSpPr>
        <a:xfrm>
          <a:off x="0" y="0"/>
          <a:ext cx="0" cy="0"/>
          <a:chOff x="0" y="0"/>
          <a:chExt cx="0" cy="0"/>
        </a:xfrm>
      </p:grpSpPr>
      <p:sp>
        <p:nvSpPr>
          <p:cNvPr id="9" name="Rechteck: obere Ecken, eine abgerundet, eine abgeschnitten 5">
            <a:extLst>
              <a:ext uri="{FF2B5EF4-FFF2-40B4-BE49-F238E27FC236}">
                <a16:creationId xmlns:a16="http://schemas.microsoft.com/office/drawing/2014/main" id="{AECA17F6-8EA8-DD55-B3F4-1FA9C5C6925A}"/>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0" name="Action Button: Go Home 9">
            <a:hlinkClick r:id="" action="ppaction://hlinkshowjump?jump=firstslide" highlightClick="1"/>
            <a:extLst>
              <a:ext uri="{FF2B5EF4-FFF2-40B4-BE49-F238E27FC236}">
                <a16:creationId xmlns:a16="http://schemas.microsoft.com/office/drawing/2014/main" id="{51654EDD-4ECD-0D0B-D09A-63BB00E9EF70}"/>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1" name="Action Button: Go Back or Previous 10">
            <a:hlinkClick r:id="" action="ppaction://hlinkshowjump?jump=lastslideviewed" highlightClick="1"/>
            <a:extLst>
              <a:ext uri="{FF2B5EF4-FFF2-40B4-BE49-F238E27FC236}">
                <a16:creationId xmlns:a16="http://schemas.microsoft.com/office/drawing/2014/main" id="{A7DA4A37-7BE3-D7E1-6544-501290640E8E}"/>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2" name="Action Button: Go Forward or Next 11">
            <a:hlinkClick r:id="" action="ppaction://hlinkshowjump?jump=nextslide" highlightClick="1"/>
            <a:extLst>
              <a:ext uri="{FF2B5EF4-FFF2-40B4-BE49-F238E27FC236}">
                <a16:creationId xmlns:a16="http://schemas.microsoft.com/office/drawing/2014/main" id="{94DD086A-3AE6-0DFF-B6B8-BD442DA829E7}"/>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3" name="Title 158">
            <a:extLst>
              <a:ext uri="{FF2B5EF4-FFF2-40B4-BE49-F238E27FC236}">
                <a16:creationId xmlns:a16="http://schemas.microsoft.com/office/drawing/2014/main" id="{70557FDF-492C-6316-A09C-0144A28E81E9}"/>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3" name="Rechteck 7">
            <a:extLst>
              <a:ext uri="{FF2B5EF4-FFF2-40B4-BE49-F238E27FC236}">
                <a16:creationId xmlns:a16="http://schemas.microsoft.com/office/drawing/2014/main" id="{C87A66D9-0E62-5149-B731-3D40F5A61825}"/>
              </a:ext>
            </a:extLst>
          </p:cNvPr>
          <p:cNvSpPr/>
          <p:nvPr userDrawn="1"/>
        </p:nvSpPr>
        <p:spPr>
          <a:xfrm>
            <a:off x="241048" y="0"/>
            <a:ext cx="1575056" cy="400110"/>
          </a:xfrm>
          <a:prstGeom prst="rect">
            <a:avLst/>
          </a:prstGeom>
        </p:spPr>
        <p:txBody>
          <a:bodyPr wrap="square">
            <a:spAutoFit/>
          </a:bodyPr>
          <a:lstStyle/>
          <a:p>
            <a:pPr defTabSz="1023614"/>
            <a:r>
              <a:rPr lang="en-US" sz="1000" b="1" dirty="0">
                <a:solidFill>
                  <a:schemeClr val="tx2"/>
                </a:solidFill>
              </a:rPr>
              <a:t>Additional </a:t>
            </a:r>
          </a:p>
          <a:p>
            <a:pPr defTabSz="1023614"/>
            <a:r>
              <a:rPr lang="en-US" sz="1000" b="1" dirty="0">
                <a:solidFill>
                  <a:schemeClr val="tx2"/>
                </a:solidFill>
              </a:rPr>
              <a:t>Information</a:t>
            </a:r>
            <a:endParaRPr lang="en-US" sz="1000" dirty="0">
              <a:solidFill>
                <a:schemeClr val="tx2"/>
              </a:solidFill>
            </a:endParaRPr>
          </a:p>
        </p:txBody>
      </p:sp>
      <p:pic>
        <p:nvPicPr>
          <p:cNvPr id="4" name="Graphic 3" descr="Information outline">
            <a:extLst>
              <a:ext uri="{FF2B5EF4-FFF2-40B4-BE49-F238E27FC236}">
                <a16:creationId xmlns:a16="http://schemas.microsoft.com/office/drawing/2014/main" id="{C2CC5B05-CA43-4292-EA0A-680E281F37A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5875" y="56055"/>
            <a:ext cx="288000" cy="288000"/>
          </a:xfrm>
          <a:prstGeom prst="rect">
            <a:avLst/>
          </a:prstGeom>
        </p:spPr>
      </p:pic>
    </p:spTree>
    <p:extLst>
      <p:ext uri="{BB962C8B-B14F-4D97-AF65-F5344CB8AC3E}">
        <p14:creationId xmlns:p14="http://schemas.microsoft.com/office/powerpoint/2010/main" val="8004710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154" name="Rechteck: obere Ecken, eine abgerundet, eine abgeschnitten 5">
            <a:extLst>
              <a:ext uri="{FF2B5EF4-FFF2-40B4-BE49-F238E27FC236}">
                <a16:creationId xmlns:a16="http://schemas.microsoft.com/office/drawing/2014/main" id="{B63598A8-B973-502A-5F68-CE31D4A57331}"/>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1" name="Rechteck 7">
            <a:extLst>
              <a:ext uri="{FF2B5EF4-FFF2-40B4-BE49-F238E27FC236}">
                <a16:creationId xmlns:a16="http://schemas.microsoft.com/office/drawing/2014/main" id="{A0EC2FF3-1AB5-F19C-9165-8F0F7A3E2E89}"/>
              </a:ext>
            </a:extLst>
          </p:cNvPr>
          <p:cNvSpPr/>
          <p:nvPr userDrawn="1"/>
        </p:nvSpPr>
        <p:spPr>
          <a:xfrm>
            <a:off x="335149" y="0"/>
            <a:ext cx="1366651"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WHAT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is the </a:t>
            </a: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Use Case?</a:t>
            </a:r>
          </a:p>
        </p:txBody>
      </p:sp>
      <p:pic>
        <p:nvPicPr>
          <p:cNvPr id="18" name="Graphic 15" descr="Bullseye outline">
            <a:extLst>
              <a:ext uri="{FF2B5EF4-FFF2-40B4-BE49-F238E27FC236}">
                <a16:creationId xmlns:a16="http://schemas.microsoft.com/office/drawing/2014/main" id="{FB87230B-7820-2E86-44BE-6F384FC306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34" y="64932"/>
            <a:ext cx="252000" cy="252000"/>
          </a:xfrm>
          <a:prstGeom prst="rect">
            <a:avLst/>
          </a:prstGeom>
        </p:spPr>
      </p:pic>
      <p:sp>
        <p:nvSpPr>
          <p:cNvPr id="72" name="Rechteck: abgerundete Ecken 64">
            <a:extLst>
              <a:ext uri="{FF2B5EF4-FFF2-40B4-BE49-F238E27FC236}">
                <a16:creationId xmlns:a16="http://schemas.microsoft.com/office/drawing/2014/main" id="{CA41234F-2DE1-B0DF-5524-8EF4726FE774}"/>
              </a:ext>
            </a:extLst>
          </p:cNvPr>
          <p:cNvSpPr/>
          <p:nvPr userDrawn="1"/>
        </p:nvSpPr>
        <p:spPr>
          <a:xfrm>
            <a:off x="19008" y="696215"/>
            <a:ext cx="3536539" cy="1390819"/>
          </a:xfrm>
          <a:prstGeom prst="roundRect">
            <a:avLst>
              <a:gd name="adj" fmla="val 284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Problem</a:t>
            </a:r>
            <a:endParaRPr lang="en-US" sz="1000" b="1" dirty="0">
              <a:solidFill>
                <a:schemeClr val="tx1"/>
              </a:solidFill>
            </a:endParaRPr>
          </a:p>
        </p:txBody>
      </p:sp>
      <p:sp>
        <p:nvSpPr>
          <p:cNvPr id="73" name="Rechteck: abgerundete Ecken 65">
            <a:extLst>
              <a:ext uri="{FF2B5EF4-FFF2-40B4-BE49-F238E27FC236}">
                <a16:creationId xmlns:a16="http://schemas.microsoft.com/office/drawing/2014/main" id="{D72F3B55-446C-82C1-1C33-245969C90473}"/>
              </a:ext>
            </a:extLst>
          </p:cNvPr>
          <p:cNvSpPr/>
          <p:nvPr userDrawn="1"/>
        </p:nvSpPr>
        <p:spPr>
          <a:xfrm>
            <a:off x="3581798" y="696177"/>
            <a:ext cx="3524400" cy="1395554"/>
          </a:xfrm>
          <a:prstGeom prst="roundRect">
            <a:avLst>
              <a:gd name="adj" fmla="val 283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Goal</a:t>
            </a:r>
            <a:endParaRPr lang="en-US" sz="1100" b="1" dirty="0">
              <a:solidFill>
                <a:schemeClr val="tx1"/>
              </a:solidFill>
            </a:endParaRPr>
          </a:p>
        </p:txBody>
      </p:sp>
      <p:sp>
        <p:nvSpPr>
          <p:cNvPr id="74" name="Rechteck: abgerundete Ecken 66">
            <a:extLst>
              <a:ext uri="{FF2B5EF4-FFF2-40B4-BE49-F238E27FC236}">
                <a16:creationId xmlns:a16="http://schemas.microsoft.com/office/drawing/2014/main" id="{418827B4-3FBE-50FA-7010-2559C68EB7A9}"/>
              </a:ext>
            </a:extLst>
          </p:cNvPr>
          <p:cNvSpPr/>
          <p:nvPr userDrawn="1"/>
        </p:nvSpPr>
        <p:spPr>
          <a:xfrm>
            <a:off x="7132449" y="690835"/>
            <a:ext cx="1992542" cy="1395554"/>
          </a:xfrm>
          <a:prstGeom prst="roundRect">
            <a:avLst>
              <a:gd name="adj" fmla="val 283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Stakeholder</a:t>
            </a:r>
            <a:endParaRPr lang="en-US" sz="800" dirty="0">
              <a:solidFill>
                <a:schemeClr val="tx1"/>
              </a:solidFill>
            </a:endParaRPr>
          </a:p>
        </p:txBody>
      </p:sp>
      <p:sp>
        <p:nvSpPr>
          <p:cNvPr id="75" name="Rechteck: abgerundete Ecken 69">
            <a:extLst>
              <a:ext uri="{FF2B5EF4-FFF2-40B4-BE49-F238E27FC236}">
                <a16:creationId xmlns:a16="http://schemas.microsoft.com/office/drawing/2014/main" id="{54F5756C-3B76-65ED-596C-DF389DD606E1}"/>
              </a:ext>
            </a:extLst>
          </p:cNvPr>
          <p:cNvSpPr/>
          <p:nvPr userDrawn="1"/>
        </p:nvSpPr>
        <p:spPr>
          <a:xfrm>
            <a:off x="7132449" y="3324239"/>
            <a:ext cx="1994400" cy="870206"/>
          </a:xfrm>
          <a:prstGeom prst="roundRect">
            <a:avLst>
              <a:gd name="adj" fmla="val 455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dirty="0">
                <a:solidFill>
                  <a:schemeClr val="tx1"/>
                </a:solidFill>
              </a:rPr>
              <a:t>Use Phase Data: </a:t>
            </a:r>
          </a:p>
        </p:txBody>
      </p:sp>
      <p:sp>
        <p:nvSpPr>
          <p:cNvPr id="76" name="Rechteck: abgerundete Ecken 71">
            <a:extLst>
              <a:ext uri="{FF2B5EF4-FFF2-40B4-BE49-F238E27FC236}">
                <a16:creationId xmlns:a16="http://schemas.microsoft.com/office/drawing/2014/main" id="{F0F1C157-DF4E-3990-1152-1BBE17D1BE18}"/>
              </a:ext>
            </a:extLst>
          </p:cNvPr>
          <p:cNvSpPr/>
          <p:nvPr userDrawn="1"/>
        </p:nvSpPr>
        <p:spPr>
          <a:xfrm>
            <a:off x="5109119" y="3324239"/>
            <a:ext cx="1994400" cy="611444"/>
          </a:xfrm>
          <a:prstGeom prst="roundRect">
            <a:avLst>
              <a:gd name="adj" fmla="val 6476"/>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Product:</a:t>
            </a:r>
            <a:endParaRPr lang="en-US" sz="800" dirty="0">
              <a:solidFill>
                <a:schemeClr val="tx1"/>
              </a:solidFill>
            </a:endParaRPr>
          </a:p>
        </p:txBody>
      </p:sp>
      <p:sp>
        <p:nvSpPr>
          <p:cNvPr id="77" name="Rechteck: abgerundete Ecken 72">
            <a:extLst>
              <a:ext uri="{FF2B5EF4-FFF2-40B4-BE49-F238E27FC236}">
                <a16:creationId xmlns:a16="http://schemas.microsoft.com/office/drawing/2014/main" id="{1BA41F7C-99E0-2B3D-04D2-1579499CE6EC}"/>
              </a:ext>
            </a:extLst>
          </p:cNvPr>
          <p:cNvSpPr/>
          <p:nvPr userDrawn="1"/>
        </p:nvSpPr>
        <p:spPr>
          <a:xfrm>
            <a:off x="5109119" y="3966387"/>
            <a:ext cx="1994400" cy="569110"/>
          </a:xfrm>
          <a:prstGeom prst="roundRect">
            <a:avLst>
              <a:gd name="adj" fmla="val 695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Process:</a:t>
            </a:r>
            <a:endParaRPr lang="en-US" sz="700" b="1">
              <a:solidFill>
                <a:schemeClr val="tx1"/>
              </a:solidFill>
            </a:endParaRPr>
          </a:p>
          <a:p>
            <a:pPr>
              <a:lnSpc>
                <a:spcPct val="114000"/>
              </a:lnSpc>
            </a:pPr>
            <a:endParaRPr lang="en-US" sz="800" dirty="0">
              <a:solidFill>
                <a:schemeClr val="tx1"/>
              </a:solidFill>
            </a:endParaRPr>
          </a:p>
        </p:txBody>
      </p:sp>
      <p:sp>
        <p:nvSpPr>
          <p:cNvPr id="78" name="Rechteck: abgerundete Ecken 73">
            <a:extLst>
              <a:ext uri="{FF2B5EF4-FFF2-40B4-BE49-F238E27FC236}">
                <a16:creationId xmlns:a16="http://schemas.microsoft.com/office/drawing/2014/main" id="{3E93D8CD-3A4D-C479-BF55-9D1778107EDE}"/>
              </a:ext>
            </a:extLst>
          </p:cNvPr>
          <p:cNvSpPr/>
          <p:nvPr userDrawn="1"/>
        </p:nvSpPr>
        <p:spPr>
          <a:xfrm>
            <a:off x="5109119" y="4566202"/>
            <a:ext cx="1994400" cy="545976"/>
          </a:xfrm>
          <a:prstGeom prst="roundRect">
            <a:avLst>
              <a:gd name="adj" fmla="val 7253"/>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800" b="1">
                <a:solidFill>
                  <a:schemeClr val="tx1"/>
                </a:solidFill>
              </a:rPr>
              <a:t>Virtual Model:</a:t>
            </a:r>
            <a:endParaRPr lang="en-US" sz="800" dirty="0">
              <a:solidFill>
                <a:schemeClr val="tx1"/>
              </a:solidFill>
            </a:endParaRPr>
          </a:p>
        </p:txBody>
      </p:sp>
      <p:sp>
        <p:nvSpPr>
          <p:cNvPr id="79" name="Rechteck: abgerundete Ecken 116">
            <a:extLst>
              <a:ext uri="{FF2B5EF4-FFF2-40B4-BE49-F238E27FC236}">
                <a16:creationId xmlns:a16="http://schemas.microsoft.com/office/drawing/2014/main" id="{9A8C31BC-E1AD-4F11-A995-061C18662E67}"/>
              </a:ext>
            </a:extLst>
          </p:cNvPr>
          <p:cNvSpPr/>
          <p:nvPr userDrawn="1"/>
        </p:nvSpPr>
        <p:spPr>
          <a:xfrm>
            <a:off x="7132449" y="4236250"/>
            <a:ext cx="1994400" cy="875927"/>
          </a:xfrm>
          <a:prstGeom prst="roundRect">
            <a:avLst>
              <a:gd name="adj" fmla="val 452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dirty="0">
                <a:solidFill>
                  <a:schemeClr val="tx1"/>
                </a:solidFill>
              </a:rPr>
              <a:t>Use Phase Data Source:</a:t>
            </a:r>
            <a:endParaRPr lang="en-US" sz="800" dirty="0">
              <a:solidFill>
                <a:schemeClr val="tx1"/>
              </a:solidFill>
            </a:endParaRPr>
          </a:p>
        </p:txBody>
      </p:sp>
      <p:sp>
        <p:nvSpPr>
          <p:cNvPr id="80" name="Rechteck: abgerundete Ecken 125">
            <a:extLst>
              <a:ext uri="{FF2B5EF4-FFF2-40B4-BE49-F238E27FC236}">
                <a16:creationId xmlns:a16="http://schemas.microsoft.com/office/drawing/2014/main" id="{BC999ACD-4D83-9D3F-8E34-E397E7A7369A}"/>
              </a:ext>
            </a:extLst>
          </p:cNvPr>
          <p:cNvSpPr/>
          <p:nvPr userDrawn="1"/>
        </p:nvSpPr>
        <p:spPr>
          <a:xfrm>
            <a:off x="20598" y="398556"/>
            <a:ext cx="9105982" cy="269261"/>
          </a:xfrm>
          <a:prstGeom prst="roundRect">
            <a:avLst>
              <a:gd name="adj" fmla="val 1470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Title:</a:t>
            </a:r>
            <a:endParaRPr lang="en-US" sz="800" dirty="0">
              <a:solidFill>
                <a:schemeClr val="tx1"/>
              </a:solidFill>
            </a:endParaRPr>
          </a:p>
        </p:txBody>
      </p:sp>
      <p:pic>
        <p:nvPicPr>
          <p:cNvPr id="81" name="Graphic 15" descr="Bullseye outline">
            <a:extLst>
              <a:ext uri="{FF2B5EF4-FFF2-40B4-BE49-F238E27FC236}">
                <a16:creationId xmlns:a16="http://schemas.microsoft.com/office/drawing/2014/main" id="{5DCA15E4-2034-4EDB-48B3-82663DCEEC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09695" y="722694"/>
            <a:ext cx="216000" cy="216000"/>
          </a:xfrm>
          <a:prstGeom prst="rect">
            <a:avLst/>
          </a:prstGeom>
        </p:spPr>
      </p:pic>
      <p:pic>
        <p:nvPicPr>
          <p:cNvPr id="82" name="Grafik 128" descr="Fragezeichen Silhouette">
            <a:extLst>
              <a:ext uri="{FF2B5EF4-FFF2-40B4-BE49-F238E27FC236}">
                <a16:creationId xmlns:a16="http://schemas.microsoft.com/office/drawing/2014/main" id="{8EC9FA75-C12D-3329-7307-3F7216FDAC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8254" y="722694"/>
            <a:ext cx="216000" cy="216000"/>
          </a:xfrm>
          <a:prstGeom prst="rect">
            <a:avLst/>
          </a:prstGeom>
        </p:spPr>
      </p:pic>
      <p:pic>
        <p:nvPicPr>
          <p:cNvPr id="83" name="Grafik 130" descr="Benutzer Silhouette">
            <a:extLst>
              <a:ext uri="{FF2B5EF4-FFF2-40B4-BE49-F238E27FC236}">
                <a16:creationId xmlns:a16="http://schemas.microsoft.com/office/drawing/2014/main" id="{6129144C-E767-F0AE-6959-1BCE8D58A59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67840" y="722694"/>
            <a:ext cx="216000" cy="216000"/>
          </a:xfrm>
          <a:prstGeom prst="rect">
            <a:avLst/>
          </a:prstGeom>
        </p:spPr>
      </p:pic>
      <p:sp>
        <p:nvSpPr>
          <p:cNvPr id="84" name="Rechteck: abgerundete Ecken 1">
            <a:extLst>
              <a:ext uri="{FF2B5EF4-FFF2-40B4-BE49-F238E27FC236}">
                <a16:creationId xmlns:a16="http://schemas.microsoft.com/office/drawing/2014/main" id="{4F11ABDB-3802-4460-EE10-609F213B5A78}"/>
              </a:ext>
            </a:extLst>
          </p:cNvPr>
          <p:cNvSpPr/>
          <p:nvPr userDrawn="1"/>
        </p:nvSpPr>
        <p:spPr>
          <a:xfrm>
            <a:off x="5109119" y="2115289"/>
            <a:ext cx="1994400" cy="1178246"/>
          </a:xfrm>
          <a:prstGeom prst="roundRect">
            <a:avLst>
              <a:gd name="adj" fmla="val 336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000" b="1">
                <a:solidFill>
                  <a:schemeClr val="tx1"/>
                </a:solidFill>
              </a:rPr>
              <a:t>Value</a:t>
            </a:r>
            <a:endParaRPr lang="en-US" sz="8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Quality</a:t>
            </a:r>
            <a:endParaRPr lang="en-US">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Time</a:t>
            </a:r>
            <a:endParaRPr lang="en-US" sz="20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Cost</a:t>
            </a:r>
            <a:endParaRPr lang="en-US" sz="900" dirty="0" err="1">
              <a:solidFill>
                <a:schemeClr val="tx1"/>
              </a:solidFill>
              <a:cs typeface="Arial"/>
            </a:endParaRPr>
          </a:p>
        </p:txBody>
      </p:sp>
      <p:pic>
        <p:nvPicPr>
          <p:cNvPr id="85" name="Grafik 93" descr="Offene Hand mit Pflanze Silhouette">
            <a:extLst>
              <a:ext uri="{FF2B5EF4-FFF2-40B4-BE49-F238E27FC236}">
                <a16:creationId xmlns:a16="http://schemas.microsoft.com/office/drawing/2014/main" id="{E833394F-FF7E-F1F6-E186-BE583BEE50D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56879" y="2146153"/>
            <a:ext cx="216000" cy="216000"/>
          </a:xfrm>
          <a:prstGeom prst="rect">
            <a:avLst/>
          </a:prstGeom>
        </p:spPr>
      </p:pic>
      <p:sp>
        <p:nvSpPr>
          <p:cNvPr id="86" name="Rechteck: abgerundete Ecken 29">
            <a:extLst>
              <a:ext uri="{FF2B5EF4-FFF2-40B4-BE49-F238E27FC236}">
                <a16:creationId xmlns:a16="http://schemas.microsoft.com/office/drawing/2014/main" id="{BD5B1968-C3B1-FC49-EB75-CF8A5502A166}"/>
              </a:ext>
            </a:extLst>
          </p:cNvPr>
          <p:cNvSpPr/>
          <p:nvPr userDrawn="1"/>
        </p:nvSpPr>
        <p:spPr>
          <a:xfrm>
            <a:off x="23210" y="2115289"/>
            <a:ext cx="5061494" cy="2757278"/>
          </a:xfrm>
          <a:prstGeom prst="roundRect">
            <a:avLst>
              <a:gd name="adj" fmla="val 132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User Stories</a:t>
            </a:r>
            <a:endParaRPr lang="en-US" sz="1000" b="1" dirty="0">
              <a:solidFill>
                <a:schemeClr val="tx1"/>
              </a:solidFill>
            </a:endParaRPr>
          </a:p>
        </p:txBody>
      </p:sp>
      <p:pic>
        <p:nvPicPr>
          <p:cNvPr id="87" name="Grafik 31" descr="Geschichten erzählen Silhouette">
            <a:extLst>
              <a:ext uri="{FF2B5EF4-FFF2-40B4-BE49-F238E27FC236}">
                <a16:creationId xmlns:a16="http://schemas.microsoft.com/office/drawing/2014/main" id="{2C16A36B-537A-D6ED-1B9A-3FFA6C19302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8254" y="2146153"/>
            <a:ext cx="216000" cy="216000"/>
          </a:xfrm>
          <a:prstGeom prst="rect">
            <a:avLst/>
          </a:prstGeom>
        </p:spPr>
      </p:pic>
      <p:sp>
        <p:nvSpPr>
          <p:cNvPr id="88" name="Rechteck: abgerundete Ecken 86">
            <a:extLst>
              <a:ext uri="{FF2B5EF4-FFF2-40B4-BE49-F238E27FC236}">
                <a16:creationId xmlns:a16="http://schemas.microsoft.com/office/drawing/2014/main" id="{8B0078B0-4D79-1501-BC86-F4BEF3E5B443}"/>
              </a:ext>
            </a:extLst>
          </p:cNvPr>
          <p:cNvSpPr/>
          <p:nvPr userDrawn="1"/>
        </p:nvSpPr>
        <p:spPr>
          <a:xfrm>
            <a:off x="7132449" y="2115289"/>
            <a:ext cx="1994400" cy="1174193"/>
          </a:xfrm>
          <a:prstGeom prst="roundRect">
            <a:avLst>
              <a:gd name="adj" fmla="val 3373"/>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000" b="1">
                <a:solidFill>
                  <a:schemeClr val="tx1"/>
                </a:solidFill>
              </a:rPr>
              <a:t>Effort</a:t>
            </a:r>
            <a:endParaRPr lang="en-US" sz="8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Simulation</a:t>
            </a:r>
            <a:endParaRPr lang="en-US" sz="800">
              <a:solidFill>
                <a:schemeClr val="tx1"/>
              </a:solidFill>
            </a:endParaRPr>
          </a:p>
          <a:p>
            <a:pPr>
              <a:lnSpc>
                <a:spcPct val="114000"/>
              </a:lnSpc>
            </a:pPr>
            <a:endParaRPr lang="en-US" sz="800">
              <a:solidFill>
                <a:schemeClr val="tx1"/>
              </a:solidFill>
            </a:endParaRPr>
          </a:p>
          <a:p>
            <a:pPr>
              <a:lnSpc>
                <a:spcPct val="114000"/>
              </a:lnSpc>
            </a:pPr>
            <a:r>
              <a:rPr lang="en-US" sz="900">
                <a:solidFill>
                  <a:schemeClr val="tx1"/>
                </a:solidFill>
              </a:rPr>
              <a:t>Use Phase Data</a:t>
            </a:r>
          </a:p>
          <a:p>
            <a:pPr>
              <a:lnSpc>
                <a:spcPct val="114000"/>
              </a:lnSpc>
            </a:pPr>
            <a:r>
              <a:rPr lang="en-US" sz="900">
                <a:solidFill>
                  <a:schemeClr val="tx1"/>
                </a:solidFill>
              </a:rPr>
              <a:t>  </a:t>
            </a:r>
            <a:endParaRPr lang="en-US" sz="800">
              <a:solidFill>
                <a:schemeClr val="tx1"/>
              </a:solidFill>
            </a:endParaRPr>
          </a:p>
          <a:p>
            <a:pPr>
              <a:lnSpc>
                <a:spcPct val="113999"/>
              </a:lnSpc>
            </a:pPr>
            <a:r>
              <a:rPr lang="en-US" sz="900">
                <a:solidFill>
                  <a:schemeClr val="tx1"/>
                </a:solidFill>
              </a:rPr>
              <a:t>Network</a:t>
            </a:r>
            <a:endParaRPr lang="en-US" dirty="0">
              <a:solidFill>
                <a:schemeClr val="tx1"/>
              </a:solidFill>
              <a:cs typeface="Arial"/>
            </a:endParaRPr>
          </a:p>
        </p:txBody>
      </p:sp>
      <p:pic>
        <p:nvPicPr>
          <p:cNvPr id="89" name="Grafik 91" descr="Stoppuhr 75% Silhouette">
            <a:extLst>
              <a:ext uri="{FF2B5EF4-FFF2-40B4-BE49-F238E27FC236}">
                <a16:creationId xmlns:a16="http://schemas.microsoft.com/office/drawing/2014/main" id="{760B767B-6006-4547-FA98-16CC1200D06F}"/>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67840" y="2146153"/>
            <a:ext cx="216000" cy="216000"/>
          </a:xfrm>
          <a:prstGeom prst="rect">
            <a:avLst/>
          </a:prstGeom>
        </p:spPr>
      </p:pic>
      <p:sp>
        <p:nvSpPr>
          <p:cNvPr id="131" name="Text Placeholder 130">
            <a:extLst>
              <a:ext uri="{FF2B5EF4-FFF2-40B4-BE49-F238E27FC236}">
                <a16:creationId xmlns:a16="http://schemas.microsoft.com/office/drawing/2014/main" id="{81968B88-B87A-F46F-C16C-B49EFD14C11F}"/>
              </a:ext>
            </a:extLst>
          </p:cNvPr>
          <p:cNvSpPr>
            <a:spLocks noGrp="1"/>
          </p:cNvSpPr>
          <p:nvPr>
            <p:ph type="body" sz="quarter" idx="10" hasCustomPrompt="1"/>
          </p:nvPr>
        </p:nvSpPr>
        <p:spPr>
          <a:xfrm>
            <a:off x="58490" y="939272"/>
            <a:ext cx="3457575"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Y? – Short description of the Use Case problem situation. It should be made clear, why the Use Case is considered. Ennumerate the existing issues and from where they result. Multiple problems can lead to the same main issue&gt;</a:t>
            </a:r>
            <a:endParaRPr lang="en-US" sz="900" dirty="0">
              <a:solidFill>
                <a:schemeClr val="tx1"/>
              </a:solidFill>
            </a:endParaRPr>
          </a:p>
        </p:txBody>
      </p:sp>
      <p:sp>
        <p:nvSpPr>
          <p:cNvPr id="132" name="Text Placeholder 130">
            <a:extLst>
              <a:ext uri="{FF2B5EF4-FFF2-40B4-BE49-F238E27FC236}">
                <a16:creationId xmlns:a16="http://schemas.microsoft.com/office/drawing/2014/main" id="{962674AC-6098-7B1E-595E-3315DD83A840}"/>
              </a:ext>
            </a:extLst>
          </p:cNvPr>
          <p:cNvSpPr>
            <a:spLocks noGrp="1"/>
          </p:cNvSpPr>
          <p:nvPr>
            <p:ph type="body" sz="quarter" idx="11" hasCustomPrompt="1"/>
          </p:nvPr>
        </p:nvSpPr>
        <p:spPr>
          <a:xfrm>
            <a:off x="3615211" y="939272"/>
            <a:ext cx="3457575"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AT? – Short description of the use case goal. What do I want as a Stakeholder? Which goals result from the problem description?&gt;</a:t>
            </a:r>
            <a:endParaRPr lang="en-US" sz="900" dirty="0">
              <a:solidFill>
                <a:schemeClr val="tx1"/>
              </a:solidFill>
            </a:endParaRPr>
          </a:p>
        </p:txBody>
      </p:sp>
      <p:sp>
        <p:nvSpPr>
          <p:cNvPr id="134" name="Text Placeholder 130">
            <a:extLst>
              <a:ext uri="{FF2B5EF4-FFF2-40B4-BE49-F238E27FC236}">
                <a16:creationId xmlns:a16="http://schemas.microsoft.com/office/drawing/2014/main" id="{4692B13A-6F81-32A4-CF60-45B6EA31E04C}"/>
              </a:ext>
            </a:extLst>
          </p:cNvPr>
          <p:cNvSpPr>
            <a:spLocks noGrp="1"/>
          </p:cNvSpPr>
          <p:nvPr>
            <p:ph type="body" sz="quarter" idx="12" hasCustomPrompt="1"/>
          </p:nvPr>
        </p:nvSpPr>
        <p:spPr>
          <a:xfrm>
            <a:off x="7164767" y="939272"/>
            <a:ext cx="1927906"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O? – List of relevant stakeholders to include. Mark the stakeholders, that suggested the use case&gt;</a:t>
            </a:r>
            <a:endParaRPr lang="en-US" sz="900" dirty="0">
              <a:solidFill>
                <a:schemeClr val="tx1"/>
              </a:solidFill>
            </a:endParaRPr>
          </a:p>
        </p:txBody>
      </p:sp>
      <p:sp>
        <p:nvSpPr>
          <p:cNvPr id="135" name="Text Placeholder 130">
            <a:extLst>
              <a:ext uri="{FF2B5EF4-FFF2-40B4-BE49-F238E27FC236}">
                <a16:creationId xmlns:a16="http://schemas.microsoft.com/office/drawing/2014/main" id="{64D79746-5E2C-F9C7-77DA-C1105CA051C2}"/>
              </a:ext>
            </a:extLst>
          </p:cNvPr>
          <p:cNvSpPr>
            <a:spLocks noGrp="1"/>
          </p:cNvSpPr>
          <p:nvPr>
            <p:ph type="body" sz="quarter" idx="13" hasCustomPrompt="1"/>
          </p:nvPr>
        </p:nvSpPr>
        <p:spPr>
          <a:xfrm>
            <a:off x="47625" y="2362153"/>
            <a:ext cx="5007556" cy="2476547"/>
          </a:xfrm>
          <a:prstGeom prst="rect">
            <a:avLst/>
          </a:prstGeom>
        </p:spPr>
        <p:txBody>
          <a:bodyPr>
            <a:normAutofit/>
          </a:bodyPr>
          <a:lstStyle>
            <a:lvl1pPr marL="171450" indent="-171450">
              <a:buFont typeface="Arial" panose="020B0604020202020204" pitchFamily="34" charset="0"/>
              <a:buChar cha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AT? Describe the user stories, this use case is going to fulfill&gt;</a:t>
            </a:r>
          </a:p>
          <a:p>
            <a:pPr>
              <a:lnSpc>
                <a:spcPct val="114000"/>
              </a:lnSpc>
            </a:pPr>
            <a:endParaRPr lang="en-US" sz="900">
              <a:solidFill>
                <a:schemeClr val="tx1"/>
              </a:solidFill>
            </a:endParaRPr>
          </a:p>
          <a:p>
            <a:pPr>
              <a:lnSpc>
                <a:spcPct val="114000"/>
              </a:lnSpc>
            </a:pPr>
            <a:r>
              <a:rPr lang="en-US" sz="900">
                <a:solidFill>
                  <a:schemeClr val="tx1"/>
                </a:solidFill>
              </a:rPr>
              <a:t>As a &lt;stakeholder&gt;, I would like &lt;the element of the DT&gt; to &lt;activity&gt;, so that &lt;expected benefit&gt;.</a:t>
            </a:r>
          </a:p>
          <a:p>
            <a:pPr>
              <a:lnSpc>
                <a:spcPct val="114000"/>
              </a:lnSpc>
            </a:pPr>
            <a:endParaRPr lang="en-US" sz="900">
              <a:solidFill>
                <a:schemeClr val="tx1"/>
              </a:solidFill>
            </a:endParaRPr>
          </a:p>
          <a:p>
            <a:pPr>
              <a:lnSpc>
                <a:spcPct val="114000"/>
              </a:lnSpc>
            </a:pPr>
            <a:r>
              <a:rPr lang="en-US" sz="900">
                <a:solidFill>
                  <a:schemeClr val="tx1"/>
                </a:solidFill>
              </a:rPr>
              <a:t>As </a:t>
            </a:r>
            <a:r>
              <a:rPr lang="en-US" sz="900" dirty="0">
                <a:solidFill>
                  <a:schemeClr val="tx1"/>
                </a:solidFill>
              </a:rPr>
              <a:t>a plant operator, I would like the system to automatically and quickly detect a case of damage in the plant (e.g. clogging of a pipe), so that a timely and appropriate response to the case of damage can be made.</a:t>
            </a:r>
          </a:p>
          <a:p>
            <a:pPr>
              <a:lnSpc>
                <a:spcPct val="114000"/>
              </a:lnSpc>
            </a:pPr>
            <a:endParaRPr lang="en-US" sz="900" dirty="0">
              <a:solidFill>
                <a:schemeClr val="tx1"/>
              </a:solidFill>
            </a:endParaRPr>
          </a:p>
        </p:txBody>
      </p:sp>
      <p:sp>
        <p:nvSpPr>
          <p:cNvPr id="137" name="Text Placeholder 136">
            <a:extLst>
              <a:ext uri="{FF2B5EF4-FFF2-40B4-BE49-F238E27FC236}">
                <a16:creationId xmlns:a16="http://schemas.microsoft.com/office/drawing/2014/main" id="{B14CCF13-51DA-8080-F776-DB89F331B563}"/>
              </a:ext>
            </a:extLst>
          </p:cNvPr>
          <p:cNvSpPr>
            <a:spLocks noGrp="1"/>
          </p:cNvSpPr>
          <p:nvPr>
            <p:ph type="body" sz="quarter" idx="14" hasCustomPrompt="1"/>
          </p:nvPr>
        </p:nvSpPr>
        <p:spPr>
          <a:xfrm>
            <a:off x="431800" y="387966"/>
            <a:ext cx="8666163" cy="269260"/>
          </a:xfrm>
          <a:prstGeom prst="rect">
            <a:avLst/>
          </a:prstGeom>
        </p:spPr>
        <p:txBody>
          <a:bodyPr anchor="ctr">
            <a:normAutofit/>
          </a:bodyPr>
          <a:lstStyle>
            <a:lvl1pPr algn="ctr">
              <a:defRPr sz="1000" b="1"/>
            </a:lvl1pPr>
          </a:lstStyle>
          <a:p>
            <a:pPr lvl="0"/>
            <a:r>
              <a:rPr lang="en-US" sz="1400" dirty="0">
                <a:solidFill>
                  <a:schemeClr val="tx1"/>
                </a:solidFill>
              </a:rPr>
              <a:t>&lt;Concise Title&gt; </a:t>
            </a:r>
            <a:endParaRPr lang="en-US" dirty="0"/>
          </a:p>
        </p:txBody>
      </p:sp>
      <p:sp>
        <p:nvSpPr>
          <p:cNvPr id="139" name="Content Placeholder 138">
            <a:extLst>
              <a:ext uri="{FF2B5EF4-FFF2-40B4-BE49-F238E27FC236}">
                <a16:creationId xmlns:a16="http://schemas.microsoft.com/office/drawing/2014/main" id="{256B5BC8-49C1-39F1-7826-693D3DE7AC39}"/>
              </a:ext>
            </a:extLst>
          </p:cNvPr>
          <p:cNvSpPr>
            <a:spLocks noGrp="1"/>
          </p:cNvSpPr>
          <p:nvPr>
            <p:ph sz="quarter" idx="15" hasCustomPrompt="1"/>
          </p:nvPr>
        </p:nvSpPr>
        <p:spPr>
          <a:xfrm>
            <a:off x="5138738" y="4756150"/>
            <a:ext cx="1935163" cy="32226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software and tools are used or are needed for the use case?&gt;</a:t>
            </a:r>
            <a:endParaRPr lang="en-US" dirty="0"/>
          </a:p>
        </p:txBody>
      </p:sp>
      <p:sp>
        <p:nvSpPr>
          <p:cNvPr id="140" name="Content Placeholder 138">
            <a:extLst>
              <a:ext uri="{FF2B5EF4-FFF2-40B4-BE49-F238E27FC236}">
                <a16:creationId xmlns:a16="http://schemas.microsoft.com/office/drawing/2014/main" id="{C08ADABF-4D85-5998-9953-D83BFFC13928}"/>
              </a:ext>
            </a:extLst>
          </p:cNvPr>
          <p:cNvSpPr>
            <a:spLocks noGrp="1"/>
          </p:cNvSpPr>
          <p:nvPr>
            <p:ph sz="quarter" idx="16" hasCustomPrompt="1"/>
          </p:nvPr>
        </p:nvSpPr>
        <p:spPr>
          <a:xfrm>
            <a:off x="5138738" y="4177782"/>
            <a:ext cx="1935163" cy="32754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processes are affected by the use case?&gt;</a:t>
            </a:r>
            <a:endParaRPr lang="en-US" dirty="0"/>
          </a:p>
        </p:txBody>
      </p:sp>
      <p:sp>
        <p:nvSpPr>
          <p:cNvPr id="141" name="Content Placeholder 138">
            <a:extLst>
              <a:ext uri="{FF2B5EF4-FFF2-40B4-BE49-F238E27FC236}">
                <a16:creationId xmlns:a16="http://schemas.microsoft.com/office/drawing/2014/main" id="{2ACBCB12-6539-E9CF-2198-16E4C6FABDBA}"/>
              </a:ext>
            </a:extLst>
          </p:cNvPr>
          <p:cNvSpPr>
            <a:spLocks noGrp="1"/>
          </p:cNvSpPr>
          <p:nvPr>
            <p:ph sz="quarter" idx="17" hasCustomPrompt="1"/>
          </p:nvPr>
        </p:nvSpPr>
        <p:spPr>
          <a:xfrm>
            <a:off x="5137623" y="3538802"/>
            <a:ext cx="1935163" cy="37689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products are affected by the use case?&gt;</a:t>
            </a:r>
            <a:endParaRPr lang="en-US" dirty="0"/>
          </a:p>
        </p:txBody>
      </p:sp>
      <p:sp>
        <p:nvSpPr>
          <p:cNvPr id="142" name="Content Placeholder 138">
            <a:extLst>
              <a:ext uri="{FF2B5EF4-FFF2-40B4-BE49-F238E27FC236}">
                <a16:creationId xmlns:a16="http://schemas.microsoft.com/office/drawing/2014/main" id="{94277159-B185-E8AD-C2DE-B7B00A2332A3}"/>
              </a:ext>
            </a:extLst>
          </p:cNvPr>
          <p:cNvSpPr>
            <a:spLocks noGrp="1"/>
          </p:cNvSpPr>
          <p:nvPr>
            <p:ph sz="quarter" idx="18" hasCustomPrompt="1"/>
          </p:nvPr>
        </p:nvSpPr>
        <p:spPr>
          <a:xfrm>
            <a:off x="7165697" y="3531188"/>
            <a:ext cx="1927906" cy="646594"/>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dirty="0">
                <a:solidFill>
                  <a:schemeClr val="tx1"/>
                </a:solidFill>
              </a:rPr>
              <a:t>&lt;Which (use phase) data is needed for the use case?&gt;</a:t>
            </a:r>
            <a:endParaRPr lang="en-US" dirty="0"/>
          </a:p>
        </p:txBody>
      </p:sp>
      <p:sp>
        <p:nvSpPr>
          <p:cNvPr id="143" name="Content Placeholder 138">
            <a:extLst>
              <a:ext uri="{FF2B5EF4-FFF2-40B4-BE49-F238E27FC236}">
                <a16:creationId xmlns:a16="http://schemas.microsoft.com/office/drawing/2014/main" id="{5B53BEDB-8B6A-365E-AAF5-62B2158925FD}"/>
              </a:ext>
            </a:extLst>
          </p:cNvPr>
          <p:cNvSpPr>
            <a:spLocks noGrp="1"/>
          </p:cNvSpPr>
          <p:nvPr>
            <p:ph sz="quarter" idx="19" hasCustomPrompt="1"/>
          </p:nvPr>
        </p:nvSpPr>
        <p:spPr>
          <a:xfrm>
            <a:off x="7164767" y="4452665"/>
            <a:ext cx="1927906" cy="646594"/>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dirty="0">
                <a:solidFill>
                  <a:schemeClr val="tx1"/>
                </a:solidFill>
              </a:rPr>
              <a:t>&lt;Where does the (use phase) data come from?&gt;</a:t>
            </a:r>
            <a:endParaRPr lang="en-US" dirty="0"/>
          </a:p>
        </p:txBody>
      </p:sp>
      <p:sp>
        <p:nvSpPr>
          <p:cNvPr id="156" name="Action Button: Go Home 155">
            <a:hlinkClick r:id="" action="ppaction://hlinkshowjump?jump=firstslide" highlightClick="1"/>
            <a:extLst>
              <a:ext uri="{FF2B5EF4-FFF2-40B4-BE49-F238E27FC236}">
                <a16:creationId xmlns:a16="http://schemas.microsoft.com/office/drawing/2014/main" id="{71E222B5-1D24-85BC-AB1B-370CA2BC948E}"/>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57" name="Action Button: Go Back or Previous 156">
            <a:hlinkClick r:id="" action="ppaction://hlinkshowjump?jump=lastslideviewed" highlightClick="1"/>
            <a:extLst>
              <a:ext uri="{FF2B5EF4-FFF2-40B4-BE49-F238E27FC236}">
                <a16:creationId xmlns:a16="http://schemas.microsoft.com/office/drawing/2014/main" id="{AF2B62C4-C39B-EBAF-1D68-9AFC50E3EB48}"/>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8" name="Action Button: Go Forward or Next 157">
            <a:hlinkClick r:id="" action="ppaction://hlinkshowjump?jump=nextslide" highlightClick="1"/>
            <a:extLst>
              <a:ext uri="{FF2B5EF4-FFF2-40B4-BE49-F238E27FC236}">
                <a16:creationId xmlns:a16="http://schemas.microsoft.com/office/drawing/2014/main" id="{8A32CB5C-7866-92B7-48E3-0609CE90CD75}"/>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9" name="Title 158">
            <a:extLst>
              <a:ext uri="{FF2B5EF4-FFF2-40B4-BE49-F238E27FC236}">
                <a16:creationId xmlns:a16="http://schemas.microsoft.com/office/drawing/2014/main" id="{F37AB438-DF21-4249-2FE5-5658081C143E}"/>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Tree>
    <p:extLst>
      <p:ext uri="{BB962C8B-B14F-4D97-AF65-F5344CB8AC3E}">
        <p14:creationId xmlns:p14="http://schemas.microsoft.com/office/powerpoint/2010/main" val="345221499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s-is_process">
    <p:spTree>
      <p:nvGrpSpPr>
        <p:cNvPr id="1" name=""/>
        <p:cNvGrpSpPr/>
        <p:nvPr/>
      </p:nvGrpSpPr>
      <p:grpSpPr>
        <a:xfrm>
          <a:off x="0" y="0"/>
          <a:ext cx="0" cy="0"/>
          <a:chOff x="0" y="0"/>
          <a:chExt cx="0" cy="0"/>
        </a:xfrm>
      </p:grpSpPr>
      <p:sp>
        <p:nvSpPr>
          <p:cNvPr id="73" name="Rechteck: obere Ecken, eine abgerundet, eine abgeschnitten 5">
            <a:extLst>
              <a:ext uri="{FF2B5EF4-FFF2-40B4-BE49-F238E27FC236}">
                <a16:creationId xmlns:a16="http://schemas.microsoft.com/office/drawing/2014/main" id="{090E5FC1-601F-2661-011B-519CBB6C7657}"/>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2" name="Rechteck 7">
            <a:extLst>
              <a:ext uri="{FF2B5EF4-FFF2-40B4-BE49-F238E27FC236}">
                <a16:creationId xmlns:a16="http://schemas.microsoft.com/office/drawing/2014/main" id="{83E4DCBF-C8BE-39FC-0809-01F1CB8E1707}"/>
              </a:ext>
            </a:extLst>
          </p:cNvPr>
          <p:cNvSpPr/>
          <p:nvPr userDrawn="1"/>
        </p:nvSpPr>
        <p:spPr>
          <a:xfrm>
            <a:off x="303657" y="0"/>
            <a:ext cx="1432008"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HOW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is the process executed currently?</a:t>
            </a:r>
          </a:p>
        </p:txBody>
      </p:sp>
      <p:pic>
        <p:nvPicPr>
          <p:cNvPr id="4" name="Graphic 3" descr="Map with pin outline">
            <a:extLst>
              <a:ext uri="{FF2B5EF4-FFF2-40B4-BE49-F238E27FC236}">
                <a16:creationId xmlns:a16="http://schemas.microsoft.com/office/drawing/2014/main" id="{45C246F7-5A5C-A710-E678-5120A3A724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568" y="56055"/>
            <a:ext cx="288000" cy="288000"/>
          </a:xfrm>
          <a:prstGeom prst="rect">
            <a:avLst/>
          </a:prstGeom>
        </p:spPr>
      </p:pic>
      <p:sp>
        <p:nvSpPr>
          <p:cNvPr id="10" name="Content Placeholder 9">
            <a:extLst>
              <a:ext uri="{FF2B5EF4-FFF2-40B4-BE49-F238E27FC236}">
                <a16:creationId xmlns:a16="http://schemas.microsoft.com/office/drawing/2014/main" id="{9BF762B2-4794-C4D2-4EA7-CDF81CF32A8F}"/>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
        <p:nvSpPr>
          <p:cNvPr id="74" name="Action Button: Go Home 73">
            <a:hlinkClick r:id="" action="ppaction://hlinkshowjump?jump=firstslide" highlightClick="1"/>
            <a:extLst>
              <a:ext uri="{FF2B5EF4-FFF2-40B4-BE49-F238E27FC236}">
                <a16:creationId xmlns:a16="http://schemas.microsoft.com/office/drawing/2014/main" id="{F69C9431-72B9-FE81-49F4-9C586DB448CB}"/>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75" name="Action Button: Go Back or Previous 74">
            <a:hlinkClick r:id="" action="ppaction://hlinkshowjump?jump=lastslideviewed" highlightClick="1"/>
            <a:extLst>
              <a:ext uri="{FF2B5EF4-FFF2-40B4-BE49-F238E27FC236}">
                <a16:creationId xmlns:a16="http://schemas.microsoft.com/office/drawing/2014/main" id="{35456B92-6F8F-DF11-3776-74806D62CF84}"/>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6" name="Action Button: Go Forward or Next 75">
            <a:hlinkClick r:id="" action="ppaction://hlinkshowjump?jump=nextslide" highlightClick="1"/>
            <a:extLst>
              <a:ext uri="{FF2B5EF4-FFF2-40B4-BE49-F238E27FC236}">
                <a16:creationId xmlns:a16="http://schemas.microsoft.com/office/drawing/2014/main" id="{5D87B7F6-D85C-9086-A689-2D91FFF09E37}"/>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8" name="Title 158">
            <a:extLst>
              <a:ext uri="{FF2B5EF4-FFF2-40B4-BE49-F238E27FC236}">
                <a16:creationId xmlns:a16="http://schemas.microsoft.com/office/drawing/2014/main" id="{F61C4C8F-5A51-8398-504B-B57B89E688F0}"/>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Tree>
    <p:extLst>
      <p:ext uri="{BB962C8B-B14F-4D97-AF65-F5344CB8AC3E}">
        <p14:creationId xmlns:p14="http://schemas.microsoft.com/office/powerpoint/2010/main" val="51740377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s-is_data-structure">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62A15F94-B42D-1EEB-35B0-454A596FC78B}"/>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4" name="Action Button: Go Home 13">
            <a:hlinkClick r:id="" action="ppaction://hlinkshowjump?jump=firstslide" highlightClick="1"/>
            <a:extLst>
              <a:ext uri="{FF2B5EF4-FFF2-40B4-BE49-F238E27FC236}">
                <a16:creationId xmlns:a16="http://schemas.microsoft.com/office/drawing/2014/main" id="{1078CAEF-1400-182A-333E-CD2FE817FB7A}"/>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5" name="Action Button: Go Back or Previous 14">
            <a:hlinkClick r:id="" action="ppaction://hlinkshowjump?jump=lastslideviewed" highlightClick="1"/>
            <a:extLst>
              <a:ext uri="{FF2B5EF4-FFF2-40B4-BE49-F238E27FC236}">
                <a16:creationId xmlns:a16="http://schemas.microsoft.com/office/drawing/2014/main" id="{F316AF2F-EC5B-D6C8-643D-9F81D0CEC7A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6" name="Action Button: Go Forward or Next 15">
            <a:hlinkClick r:id="" action="ppaction://hlinkshowjump?jump=nextslide" highlightClick="1"/>
            <a:extLst>
              <a:ext uri="{FF2B5EF4-FFF2-40B4-BE49-F238E27FC236}">
                <a16:creationId xmlns:a16="http://schemas.microsoft.com/office/drawing/2014/main" id="{D7077E52-696D-3786-48FC-7AB4345196CF}"/>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7" name="Title 158">
            <a:extLst>
              <a:ext uri="{FF2B5EF4-FFF2-40B4-BE49-F238E27FC236}">
                <a16:creationId xmlns:a16="http://schemas.microsoft.com/office/drawing/2014/main" id="{421B38EF-1948-845B-3622-7BC5DCD6213D}"/>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2" name="Rechteck 7">
            <a:extLst>
              <a:ext uri="{FF2B5EF4-FFF2-40B4-BE49-F238E27FC236}">
                <a16:creationId xmlns:a16="http://schemas.microsoft.com/office/drawing/2014/main" id="{AAFFC50E-FD9F-59A8-ED49-F3003E680152}"/>
              </a:ext>
            </a:extLst>
          </p:cNvPr>
          <p:cNvSpPr/>
          <p:nvPr userDrawn="1"/>
        </p:nvSpPr>
        <p:spPr>
          <a:xfrm>
            <a:off x="266010" y="0"/>
            <a:ext cx="1528924"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HOW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are activities and tools connected?</a:t>
            </a:r>
          </a:p>
        </p:txBody>
      </p:sp>
      <p:pic>
        <p:nvPicPr>
          <p:cNvPr id="4" name="Graphic 3" descr="Map with pin outline">
            <a:extLst>
              <a:ext uri="{FF2B5EF4-FFF2-40B4-BE49-F238E27FC236}">
                <a16:creationId xmlns:a16="http://schemas.microsoft.com/office/drawing/2014/main" id="{F20B657D-C851-B0D3-C193-CC9DD59C2F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568" y="56055"/>
            <a:ext cx="288000" cy="288000"/>
          </a:xfrm>
          <a:prstGeom prst="rect">
            <a:avLst/>
          </a:prstGeom>
        </p:spPr>
      </p:pic>
      <p:sp>
        <p:nvSpPr>
          <p:cNvPr id="3" name="Content Placeholder 9">
            <a:extLst>
              <a:ext uri="{FF2B5EF4-FFF2-40B4-BE49-F238E27FC236}">
                <a16:creationId xmlns:a16="http://schemas.microsoft.com/office/drawing/2014/main" id="{B155DD84-F64A-ED80-64C7-1374F5E65C0B}"/>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241336981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rget_Process">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BE05C912-9040-00ED-A975-D00CE40F024D}"/>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2" name="Action Button: Go Home 11">
            <a:hlinkClick r:id="" action="ppaction://hlinkshowjump?jump=firstslide" highlightClick="1"/>
            <a:extLst>
              <a:ext uri="{FF2B5EF4-FFF2-40B4-BE49-F238E27FC236}">
                <a16:creationId xmlns:a16="http://schemas.microsoft.com/office/drawing/2014/main" id="{629CD91F-C346-A323-F7BD-BAB7B8BF4398}"/>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3" name="Action Button: Go Back or Previous 12">
            <a:hlinkClick r:id="" action="ppaction://hlinkshowjump?jump=lastslideviewed" highlightClick="1"/>
            <a:extLst>
              <a:ext uri="{FF2B5EF4-FFF2-40B4-BE49-F238E27FC236}">
                <a16:creationId xmlns:a16="http://schemas.microsoft.com/office/drawing/2014/main" id="{18979AC8-277E-FD0B-C6D5-1609EC1253D7}"/>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4" name="Action Button: Go Forward or Next 13">
            <a:hlinkClick r:id="" action="ppaction://hlinkshowjump?jump=nextslide" highlightClick="1"/>
            <a:extLst>
              <a:ext uri="{FF2B5EF4-FFF2-40B4-BE49-F238E27FC236}">
                <a16:creationId xmlns:a16="http://schemas.microsoft.com/office/drawing/2014/main" id="{C89CBA11-536B-3F8C-FC28-7270A86934CB}"/>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Title 158">
            <a:extLst>
              <a:ext uri="{FF2B5EF4-FFF2-40B4-BE49-F238E27FC236}">
                <a16:creationId xmlns:a16="http://schemas.microsoft.com/office/drawing/2014/main" id="{7C34C798-D046-BFD9-9130-3FA1DD4D8978}"/>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5" name="Rechteck 7">
            <a:extLst>
              <a:ext uri="{FF2B5EF4-FFF2-40B4-BE49-F238E27FC236}">
                <a16:creationId xmlns:a16="http://schemas.microsoft.com/office/drawing/2014/main" id="{AF018E51-856D-1CE7-AD15-A00E69CEF0B7}"/>
              </a:ext>
            </a:extLst>
          </p:cNvPr>
          <p:cNvSpPr/>
          <p:nvPr userDrawn="1"/>
        </p:nvSpPr>
        <p:spPr>
          <a:xfrm>
            <a:off x="279144" y="0"/>
            <a:ext cx="1452289" cy="400110"/>
          </a:xfrm>
          <a:prstGeom prst="rect">
            <a:avLst/>
          </a:prstGeom>
        </p:spPr>
        <p:txBody>
          <a:bodyPr wrap="square">
            <a:spAutoFit/>
          </a:bodyPr>
          <a:lstStyle/>
          <a:p>
            <a:pPr defTabSz="1023614"/>
            <a:r>
              <a:rPr lang="en-US" sz="1000" b="1" dirty="0">
                <a:solidFill>
                  <a:schemeClr val="tx2"/>
                </a:solidFill>
              </a:rPr>
              <a:t>WHO </a:t>
            </a:r>
            <a:r>
              <a:rPr lang="en-US" sz="1000" dirty="0">
                <a:solidFill>
                  <a:schemeClr val="tx2"/>
                </a:solidFill>
              </a:rPr>
              <a:t>should be doing </a:t>
            </a:r>
            <a:r>
              <a:rPr lang="en-US" sz="1000" b="1" dirty="0">
                <a:solidFill>
                  <a:schemeClr val="tx2"/>
                </a:solidFill>
              </a:rPr>
              <a:t>WHAT, WHEN?</a:t>
            </a:r>
            <a:endParaRPr lang="en-US" sz="1000" dirty="0">
              <a:solidFill>
                <a:schemeClr val="tx2"/>
              </a:solidFill>
            </a:endParaRPr>
          </a:p>
        </p:txBody>
      </p:sp>
      <p:pic>
        <p:nvPicPr>
          <p:cNvPr id="6" name="Graphic 5" descr="Lightbulb and pencil outline">
            <a:extLst>
              <a:ext uri="{FF2B5EF4-FFF2-40B4-BE49-F238E27FC236}">
                <a16:creationId xmlns:a16="http://schemas.microsoft.com/office/drawing/2014/main" id="{B527B3F6-C826-05E8-CDAD-DDE23FDDF6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
        <p:nvSpPr>
          <p:cNvPr id="2" name="Content Placeholder 9">
            <a:extLst>
              <a:ext uri="{FF2B5EF4-FFF2-40B4-BE49-F238E27FC236}">
                <a16:creationId xmlns:a16="http://schemas.microsoft.com/office/drawing/2014/main" id="{FBADC74E-71CC-52AC-9336-748E8B0AD248}"/>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54593090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rget_Data-Structure">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D4AEB723-681C-72CB-33C8-DD3833150FC1}"/>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2" name="Action Button: Go Home 11">
            <a:hlinkClick r:id="" action="ppaction://hlinkshowjump?jump=firstslide" highlightClick="1"/>
            <a:extLst>
              <a:ext uri="{FF2B5EF4-FFF2-40B4-BE49-F238E27FC236}">
                <a16:creationId xmlns:a16="http://schemas.microsoft.com/office/drawing/2014/main" id="{A4258F32-4372-1FF4-3B11-F3ADA69461F4}"/>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3" name="Action Button: Go Back or Previous 12">
            <a:hlinkClick r:id="" action="ppaction://hlinkshowjump?jump=lastslideviewed" highlightClick="1"/>
            <a:extLst>
              <a:ext uri="{FF2B5EF4-FFF2-40B4-BE49-F238E27FC236}">
                <a16:creationId xmlns:a16="http://schemas.microsoft.com/office/drawing/2014/main" id="{31B7A9D4-A066-9B49-4293-2E5076943D1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4" name="Action Button: Go Forward or Next 13">
            <a:hlinkClick r:id="" action="ppaction://hlinkshowjump?jump=nextslide" highlightClick="1"/>
            <a:extLst>
              <a:ext uri="{FF2B5EF4-FFF2-40B4-BE49-F238E27FC236}">
                <a16:creationId xmlns:a16="http://schemas.microsoft.com/office/drawing/2014/main" id="{F9AF1BF2-5C3D-CF69-CE5B-1BD16A441E1B}"/>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Title 158">
            <a:extLst>
              <a:ext uri="{FF2B5EF4-FFF2-40B4-BE49-F238E27FC236}">
                <a16:creationId xmlns:a16="http://schemas.microsoft.com/office/drawing/2014/main" id="{E789D709-C346-D722-61ED-EC95EF55C263}"/>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2" name="Rechteck 7">
            <a:extLst>
              <a:ext uri="{FF2B5EF4-FFF2-40B4-BE49-F238E27FC236}">
                <a16:creationId xmlns:a16="http://schemas.microsoft.com/office/drawing/2014/main" id="{39B26F00-FE05-E885-F17E-4E9BECE9B1D2}"/>
              </a:ext>
            </a:extLst>
          </p:cNvPr>
          <p:cNvSpPr/>
          <p:nvPr userDrawn="1"/>
        </p:nvSpPr>
        <p:spPr>
          <a:xfrm>
            <a:off x="279144" y="0"/>
            <a:ext cx="1706289" cy="400110"/>
          </a:xfrm>
          <a:prstGeom prst="rect">
            <a:avLst/>
          </a:prstGeom>
        </p:spPr>
        <p:txBody>
          <a:bodyPr wrap="square">
            <a:spAutoFit/>
          </a:bodyPr>
          <a:lstStyle/>
          <a:p>
            <a:pPr defTabSz="1023614"/>
            <a:r>
              <a:rPr lang="en-US" sz="1000" b="1" dirty="0">
                <a:solidFill>
                  <a:schemeClr val="tx2"/>
                </a:solidFill>
              </a:rPr>
              <a:t>HOW </a:t>
            </a:r>
            <a:r>
              <a:rPr lang="en-US" sz="1000" b="0" dirty="0">
                <a:solidFill>
                  <a:schemeClr val="tx2"/>
                </a:solidFill>
              </a:rPr>
              <a:t>does the data structure </a:t>
            </a:r>
            <a:r>
              <a:rPr lang="en-US" sz="1000" b="1" dirty="0">
                <a:solidFill>
                  <a:schemeClr val="tx2"/>
                </a:solidFill>
              </a:rPr>
              <a:t>change?</a:t>
            </a:r>
            <a:endParaRPr lang="en-US" sz="1000" dirty="0">
              <a:solidFill>
                <a:schemeClr val="tx2"/>
              </a:solidFill>
            </a:endParaRPr>
          </a:p>
        </p:txBody>
      </p:sp>
      <p:pic>
        <p:nvPicPr>
          <p:cNvPr id="4" name="Graphic 3" descr="Lightbulb and pencil outline">
            <a:extLst>
              <a:ext uri="{FF2B5EF4-FFF2-40B4-BE49-F238E27FC236}">
                <a16:creationId xmlns:a16="http://schemas.microsoft.com/office/drawing/2014/main" id="{9503B3FE-02A2-F209-0F3C-9133F74A0D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
        <p:nvSpPr>
          <p:cNvPr id="3" name="Content Placeholder 9">
            <a:extLst>
              <a:ext uri="{FF2B5EF4-FFF2-40B4-BE49-F238E27FC236}">
                <a16:creationId xmlns:a16="http://schemas.microsoft.com/office/drawing/2014/main" id="{836E8DF0-86EE-812B-41C8-C95950EC2DBC}"/>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368251927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siness_Modelling_Canvas">
    <p:spTree>
      <p:nvGrpSpPr>
        <p:cNvPr id="1" name=""/>
        <p:cNvGrpSpPr/>
        <p:nvPr/>
      </p:nvGrpSpPr>
      <p:grpSpPr>
        <a:xfrm>
          <a:off x="0" y="0"/>
          <a:ext cx="0" cy="0"/>
          <a:chOff x="0" y="0"/>
          <a:chExt cx="0" cy="0"/>
        </a:xfrm>
      </p:grpSpPr>
      <p:sp>
        <p:nvSpPr>
          <p:cNvPr id="10" name="Rechteck: obere Ecken, eine abgerundet, eine abgeschnitten 5">
            <a:extLst>
              <a:ext uri="{FF2B5EF4-FFF2-40B4-BE49-F238E27FC236}">
                <a16:creationId xmlns:a16="http://schemas.microsoft.com/office/drawing/2014/main" id="{BE724D82-873C-DAE0-9827-566CA0D32DBD}"/>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2" name="Rechteck 7">
            <a:extLst>
              <a:ext uri="{FF2B5EF4-FFF2-40B4-BE49-F238E27FC236}">
                <a16:creationId xmlns:a16="http://schemas.microsoft.com/office/drawing/2014/main" id="{2C900378-EF88-67B4-65A3-A0B1F162F4B9}"/>
              </a:ext>
            </a:extLst>
          </p:cNvPr>
          <p:cNvSpPr/>
          <p:nvPr userDrawn="1"/>
        </p:nvSpPr>
        <p:spPr>
          <a:xfrm>
            <a:off x="270933" y="0"/>
            <a:ext cx="1507072" cy="400110"/>
          </a:xfrm>
          <a:prstGeom prst="rect">
            <a:avLst/>
          </a:prstGeom>
        </p:spPr>
        <p:txBody>
          <a:bodyPr wrap="square">
            <a:spAutoFit/>
          </a:bodyPr>
          <a:lstStyle/>
          <a:p>
            <a:pPr defTabSz="1023614"/>
            <a:r>
              <a:rPr lang="en-US" sz="1000" b="1" dirty="0">
                <a:solidFill>
                  <a:schemeClr val="tx2"/>
                </a:solidFill>
              </a:rPr>
              <a:t>WHAT </a:t>
            </a:r>
            <a:r>
              <a:rPr lang="en-US" sz="1000" b="0" dirty="0">
                <a:solidFill>
                  <a:schemeClr val="tx2"/>
                </a:solidFill>
              </a:rPr>
              <a:t>is the </a:t>
            </a:r>
            <a:r>
              <a:rPr lang="en-US" sz="1000" b="1" dirty="0">
                <a:solidFill>
                  <a:schemeClr val="tx2"/>
                </a:solidFill>
              </a:rPr>
              <a:t>business model</a:t>
            </a:r>
            <a:r>
              <a:rPr lang="en-US" sz="1000" b="0" dirty="0">
                <a:solidFill>
                  <a:schemeClr val="tx2"/>
                </a:solidFill>
              </a:rPr>
              <a:t>?</a:t>
            </a:r>
            <a:endParaRPr lang="en-US" sz="1000" dirty="0">
              <a:solidFill>
                <a:schemeClr val="tx2"/>
              </a:solidFill>
            </a:endParaRPr>
          </a:p>
        </p:txBody>
      </p:sp>
      <p:pic>
        <p:nvPicPr>
          <p:cNvPr id="8" name="Graphic 7" descr="Loan outline">
            <a:extLst>
              <a:ext uri="{FF2B5EF4-FFF2-40B4-BE49-F238E27FC236}">
                <a16:creationId xmlns:a16="http://schemas.microsoft.com/office/drawing/2014/main" id="{9FF20EAB-490F-1F20-559A-AE0728EFDE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368" y="56055"/>
            <a:ext cx="288000" cy="288000"/>
          </a:xfrm>
          <a:prstGeom prst="rect">
            <a:avLst/>
          </a:prstGeom>
        </p:spPr>
      </p:pic>
      <p:sp>
        <p:nvSpPr>
          <p:cNvPr id="11" name="Action Button: Go Home 10">
            <a:hlinkClick r:id="" action="ppaction://hlinkshowjump?jump=firstslide" highlightClick="1"/>
            <a:extLst>
              <a:ext uri="{FF2B5EF4-FFF2-40B4-BE49-F238E27FC236}">
                <a16:creationId xmlns:a16="http://schemas.microsoft.com/office/drawing/2014/main" id="{BC46862B-6348-8EC5-F6AA-701D7F6F27FD}"/>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b="1" dirty="0">
              <a:latin typeface="+mj-lt"/>
            </a:endParaRPr>
          </a:p>
        </p:txBody>
      </p:sp>
      <p:sp>
        <p:nvSpPr>
          <p:cNvPr id="12" name="Action Button: Go Back or Previous 11">
            <a:hlinkClick r:id="" action="ppaction://hlinkshowjump?jump=lastslideviewed" highlightClick="1"/>
            <a:extLst>
              <a:ext uri="{FF2B5EF4-FFF2-40B4-BE49-F238E27FC236}">
                <a16:creationId xmlns:a16="http://schemas.microsoft.com/office/drawing/2014/main" id="{34CDBCD8-80C4-02EF-E48D-F4DFC9F9A5D6}"/>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b="1" dirty="0">
              <a:latin typeface="+mj-lt"/>
            </a:endParaRPr>
          </a:p>
        </p:txBody>
      </p:sp>
      <p:sp>
        <p:nvSpPr>
          <p:cNvPr id="13" name="Action Button: Go Forward or Next 12">
            <a:hlinkClick r:id="" action="ppaction://hlinkshowjump?jump=nextslide" highlightClick="1"/>
            <a:extLst>
              <a:ext uri="{FF2B5EF4-FFF2-40B4-BE49-F238E27FC236}">
                <a16:creationId xmlns:a16="http://schemas.microsoft.com/office/drawing/2014/main" id="{5071FA5C-D937-2E89-198F-0497E528DBD6}"/>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b="1" dirty="0">
              <a:latin typeface="+mj-lt"/>
            </a:endParaRPr>
          </a:p>
        </p:txBody>
      </p:sp>
      <p:sp>
        <p:nvSpPr>
          <p:cNvPr id="14" name="Title 158">
            <a:extLst>
              <a:ext uri="{FF2B5EF4-FFF2-40B4-BE49-F238E27FC236}">
                <a16:creationId xmlns:a16="http://schemas.microsoft.com/office/drawing/2014/main" id="{E774FD7B-960E-2237-5156-8F9BFD97F9A0}"/>
              </a:ext>
            </a:extLst>
          </p:cNvPr>
          <p:cNvSpPr>
            <a:spLocks noGrp="1"/>
          </p:cNvSpPr>
          <p:nvPr>
            <p:ph type="title" hasCustomPrompt="1"/>
          </p:nvPr>
        </p:nvSpPr>
        <p:spPr>
          <a:xfrm>
            <a:off x="0" y="-402563"/>
            <a:ext cx="7886700" cy="395160"/>
          </a:xfrm>
          <a:prstGeom prst="rect">
            <a:avLst/>
          </a:prstGeom>
        </p:spPr>
        <p:txBody>
          <a:bodyPr/>
          <a:lstStyle>
            <a:lvl1pPr>
              <a:defRPr b="1">
                <a:latin typeface="+mj-lt"/>
              </a:defRPr>
            </a:lvl1pPr>
          </a:lstStyle>
          <a:p>
            <a:r>
              <a:rPr lang="en-US" dirty="0"/>
              <a:t>Add title here to name your slide</a:t>
            </a:r>
          </a:p>
        </p:txBody>
      </p:sp>
      <p:sp>
        <p:nvSpPr>
          <p:cNvPr id="3" name="Rectangle: Rounded Corners 2">
            <a:extLst>
              <a:ext uri="{FF2B5EF4-FFF2-40B4-BE49-F238E27FC236}">
                <a16:creationId xmlns:a16="http://schemas.microsoft.com/office/drawing/2014/main" id="{107463A0-C95F-7B9F-DC7E-6CF0D54F2AA0}"/>
              </a:ext>
            </a:extLst>
          </p:cNvPr>
          <p:cNvSpPr/>
          <p:nvPr userDrawn="1"/>
        </p:nvSpPr>
        <p:spPr>
          <a:xfrm>
            <a:off x="46040" y="743125"/>
            <a:ext cx="9055099" cy="4353310"/>
          </a:xfrm>
          <a:prstGeom prst="roundRect">
            <a:avLst>
              <a:gd name="adj" fmla="val 1156"/>
            </a:avLst>
          </a:prstGeom>
          <a:solidFill>
            <a:schemeClr val="bg1">
              <a:lumMod val="95000"/>
              <a:alpha val="10000"/>
            </a:schemeClr>
          </a:solidFill>
          <a:ln w="2540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b="1">
              <a:latin typeface="+mj-lt"/>
            </a:endParaRPr>
          </a:p>
        </p:txBody>
      </p:sp>
      <p:cxnSp>
        <p:nvCxnSpPr>
          <p:cNvPr id="4" name="Straight Connector 3">
            <a:extLst>
              <a:ext uri="{FF2B5EF4-FFF2-40B4-BE49-F238E27FC236}">
                <a16:creationId xmlns:a16="http://schemas.microsoft.com/office/drawing/2014/main" id="{75070355-B43B-CAA2-BEFF-182F7D8A9BE8}"/>
              </a:ext>
            </a:extLst>
          </p:cNvPr>
          <p:cNvCxnSpPr>
            <a:cxnSpLocks/>
          </p:cNvCxnSpPr>
          <p:nvPr userDrawn="1"/>
        </p:nvCxnSpPr>
        <p:spPr>
          <a:xfrm>
            <a:off x="100559" y="4013947"/>
            <a:ext cx="894606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 name="Straight Connector 4">
            <a:extLst>
              <a:ext uri="{FF2B5EF4-FFF2-40B4-BE49-F238E27FC236}">
                <a16:creationId xmlns:a16="http://schemas.microsoft.com/office/drawing/2014/main" id="{24804DD6-600F-73E5-2D08-682CB245F5AA}"/>
              </a:ext>
            </a:extLst>
          </p:cNvPr>
          <p:cNvCxnSpPr>
            <a:cxnSpLocks/>
          </p:cNvCxnSpPr>
          <p:nvPr userDrawn="1"/>
        </p:nvCxnSpPr>
        <p:spPr>
          <a:xfrm flipV="1">
            <a:off x="185706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Connector 5">
            <a:extLst>
              <a:ext uri="{FF2B5EF4-FFF2-40B4-BE49-F238E27FC236}">
                <a16:creationId xmlns:a16="http://schemas.microsoft.com/office/drawing/2014/main" id="{85034B3C-6928-1088-903B-EEE048565739}"/>
              </a:ext>
            </a:extLst>
          </p:cNvPr>
          <p:cNvCxnSpPr>
            <a:cxnSpLocks/>
          </p:cNvCxnSpPr>
          <p:nvPr userDrawn="1"/>
        </p:nvCxnSpPr>
        <p:spPr>
          <a:xfrm flipV="1">
            <a:off x="366808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0AAC59F8-30A5-4CAC-C4CA-BF4F4115C09F}"/>
              </a:ext>
            </a:extLst>
          </p:cNvPr>
          <p:cNvCxnSpPr>
            <a:cxnSpLocks/>
          </p:cNvCxnSpPr>
          <p:nvPr userDrawn="1"/>
        </p:nvCxnSpPr>
        <p:spPr>
          <a:xfrm flipV="1">
            <a:off x="547910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20CD94D7-ACBD-E9DA-24EF-094326A83988}"/>
              </a:ext>
            </a:extLst>
          </p:cNvPr>
          <p:cNvCxnSpPr>
            <a:cxnSpLocks/>
          </p:cNvCxnSpPr>
          <p:nvPr userDrawn="1"/>
        </p:nvCxnSpPr>
        <p:spPr>
          <a:xfrm flipV="1">
            <a:off x="7290120" y="832124"/>
            <a:ext cx="0" cy="3092824"/>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8140B98A-64C8-FAF5-7EF7-25229F41F8D5}"/>
              </a:ext>
            </a:extLst>
          </p:cNvPr>
          <p:cNvCxnSpPr>
            <a:cxnSpLocks/>
          </p:cNvCxnSpPr>
          <p:nvPr userDrawn="1"/>
        </p:nvCxnSpPr>
        <p:spPr>
          <a:xfrm>
            <a:off x="1898570" y="1833399"/>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6CFE1343-2CC4-E867-E778-1E873B9880FB}"/>
              </a:ext>
            </a:extLst>
          </p:cNvPr>
          <p:cNvCxnSpPr>
            <a:cxnSpLocks/>
          </p:cNvCxnSpPr>
          <p:nvPr userDrawn="1"/>
        </p:nvCxnSpPr>
        <p:spPr>
          <a:xfrm>
            <a:off x="1898570" y="2923673"/>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35FC0916-6598-D146-FDC8-E2EE6369BD10}"/>
              </a:ext>
            </a:extLst>
          </p:cNvPr>
          <p:cNvCxnSpPr>
            <a:cxnSpLocks/>
          </p:cNvCxnSpPr>
          <p:nvPr userDrawn="1"/>
        </p:nvCxnSpPr>
        <p:spPr>
          <a:xfrm>
            <a:off x="87550" y="2378536"/>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5C9CA08B-31D8-6CB9-D62C-B2A1800CC70B}"/>
              </a:ext>
            </a:extLst>
          </p:cNvPr>
          <p:cNvCxnSpPr>
            <a:cxnSpLocks/>
          </p:cNvCxnSpPr>
          <p:nvPr userDrawn="1"/>
        </p:nvCxnSpPr>
        <p:spPr>
          <a:xfrm>
            <a:off x="5520610" y="1833399"/>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33A136E1-0F38-E96F-2A49-EC5EADE39747}"/>
              </a:ext>
            </a:extLst>
          </p:cNvPr>
          <p:cNvCxnSpPr>
            <a:cxnSpLocks/>
          </p:cNvCxnSpPr>
          <p:nvPr userDrawn="1"/>
        </p:nvCxnSpPr>
        <p:spPr>
          <a:xfrm>
            <a:off x="5520610" y="2923673"/>
            <a:ext cx="1728000" cy="0"/>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71FB0BE0-5B43-6B39-E08D-E55C78E456C2}"/>
              </a:ext>
            </a:extLst>
          </p:cNvPr>
          <p:cNvCxnSpPr>
            <a:cxnSpLocks/>
          </p:cNvCxnSpPr>
          <p:nvPr userDrawn="1"/>
        </p:nvCxnSpPr>
        <p:spPr>
          <a:xfrm flipH="1" flipV="1">
            <a:off x="4570516" y="4054287"/>
            <a:ext cx="6147" cy="1001807"/>
          </a:xfrm>
          <a:prstGeom prst="line">
            <a:avLst/>
          </a:prstGeom>
          <a:noFill/>
          <a:ln w="19050" cap="rnd">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2" name="TextBox 21">
            <a:extLst>
              <a:ext uri="{FF2B5EF4-FFF2-40B4-BE49-F238E27FC236}">
                <a16:creationId xmlns:a16="http://schemas.microsoft.com/office/drawing/2014/main" id="{78A47344-DE42-841A-4B95-23088CDF7DF7}"/>
              </a:ext>
            </a:extLst>
          </p:cNvPr>
          <p:cNvSpPr txBox="1"/>
          <p:nvPr userDrawn="1"/>
        </p:nvSpPr>
        <p:spPr>
          <a:xfrm>
            <a:off x="375550" y="841104"/>
            <a:ext cx="1288576"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Partners</a:t>
            </a:r>
          </a:p>
        </p:txBody>
      </p:sp>
      <p:sp>
        <p:nvSpPr>
          <p:cNvPr id="23" name="TextBox 22">
            <a:extLst>
              <a:ext uri="{FF2B5EF4-FFF2-40B4-BE49-F238E27FC236}">
                <a16:creationId xmlns:a16="http://schemas.microsoft.com/office/drawing/2014/main" id="{5105F75C-983B-B15E-1951-171CAEAFAE2E}"/>
              </a:ext>
            </a:extLst>
          </p:cNvPr>
          <p:cNvSpPr txBox="1"/>
          <p:nvPr userDrawn="1"/>
        </p:nvSpPr>
        <p:spPr>
          <a:xfrm>
            <a:off x="375550" y="2449963"/>
            <a:ext cx="1288576"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Buy-In / Support</a:t>
            </a:r>
          </a:p>
        </p:txBody>
      </p:sp>
      <p:sp>
        <p:nvSpPr>
          <p:cNvPr id="24" name="TextBox 23">
            <a:extLst>
              <a:ext uri="{FF2B5EF4-FFF2-40B4-BE49-F238E27FC236}">
                <a16:creationId xmlns:a16="http://schemas.microsoft.com/office/drawing/2014/main" id="{5F2E835D-4FF2-5F51-261A-E290EFB7D685}"/>
              </a:ext>
            </a:extLst>
          </p:cNvPr>
          <p:cNvSpPr txBox="1"/>
          <p:nvPr userDrawn="1"/>
        </p:nvSpPr>
        <p:spPr>
          <a:xfrm>
            <a:off x="375550" y="4085372"/>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ost Structure / Budget</a:t>
            </a:r>
          </a:p>
        </p:txBody>
      </p:sp>
      <p:sp>
        <p:nvSpPr>
          <p:cNvPr id="25" name="TextBox 24">
            <a:extLst>
              <a:ext uri="{FF2B5EF4-FFF2-40B4-BE49-F238E27FC236}">
                <a16:creationId xmlns:a16="http://schemas.microsoft.com/office/drawing/2014/main" id="{9ADFA785-9BE1-E4E7-84E0-833573F8E483}"/>
              </a:ext>
            </a:extLst>
          </p:cNvPr>
          <p:cNvSpPr txBox="1"/>
          <p:nvPr userDrawn="1"/>
        </p:nvSpPr>
        <p:spPr>
          <a:xfrm>
            <a:off x="4873756" y="4085372"/>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Revenue Streams</a:t>
            </a:r>
          </a:p>
        </p:txBody>
      </p:sp>
      <p:sp>
        <p:nvSpPr>
          <p:cNvPr id="26" name="TextBox 25">
            <a:extLst>
              <a:ext uri="{FF2B5EF4-FFF2-40B4-BE49-F238E27FC236}">
                <a16:creationId xmlns:a16="http://schemas.microsoft.com/office/drawing/2014/main" id="{A19C760A-899D-C5AA-B72B-0EC0BBE0F147}"/>
              </a:ext>
            </a:extLst>
          </p:cNvPr>
          <p:cNvSpPr txBox="1"/>
          <p:nvPr userDrawn="1"/>
        </p:nvSpPr>
        <p:spPr>
          <a:xfrm>
            <a:off x="2175296" y="2995100"/>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Data Resources</a:t>
            </a:r>
          </a:p>
        </p:txBody>
      </p:sp>
      <p:sp>
        <p:nvSpPr>
          <p:cNvPr id="27" name="TextBox 26">
            <a:extLst>
              <a:ext uri="{FF2B5EF4-FFF2-40B4-BE49-F238E27FC236}">
                <a16:creationId xmlns:a16="http://schemas.microsoft.com/office/drawing/2014/main" id="{4640EB62-C624-CB1C-9699-0CF943A2762C}"/>
              </a:ext>
            </a:extLst>
          </p:cNvPr>
          <p:cNvSpPr txBox="1"/>
          <p:nvPr userDrawn="1"/>
        </p:nvSpPr>
        <p:spPr>
          <a:xfrm>
            <a:off x="2175296" y="1917779"/>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Resources</a:t>
            </a:r>
          </a:p>
        </p:txBody>
      </p:sp>
      <p:sp>
        <p:nvSpPr>
          <p:cNvPr id="28" name="TextBox 27">
            <a:extLst>
              <a:ext uri="{FF2B5EF4-FFF2-40B4-BE49-F238E27FC236}">
                <a16:creationId xmlns:a16="http://schemas.microsoft.com/office/drawing/2014/main" id="{E3133821-34E9-423F-4887-644FBBD10430}"/>
              </a:ext>
            </a:extLst>
          </p:cNvPr>
          <p:cNvSpPr txBox="1"/>
          <p:nvPr userDrawn="1"/>
        </p:nvSpPr>
        <p:spPr>
          <a:xfrm>
            <a:off x="2175296" y="841104"/>
            <a:ext cx="2227820"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Key Activities</a:t>
            </a:r>
          </a:p>
        </p:txBody>
      </p:sp>
      <p:sp>
        <p:nvSpPr>
          <p:cNvPr id="29" name="TextBox 28">
            <a:extLst>
              <a:ext uri="{FF2B5EF4-FFF2-40B4-BE49-F238E27FC236}">
                <a16:creationId xmlns:a16="http://schemas.microsoft.com/office/drawing/2014/main" id="{D5DA2F20-4A4D-6AB3-732D-A0D70918F04E}"/>
              </a:ext>
            </a:extLst>
          </p:cNvPr>
          <p:cNvSpPr txBox="1"/>
          <p:nvPr userDrawn="1"/>
        </p:nvSpPr>
        <p:spPr>
          <a:xfrm>
            <a:off x="3986316" y="841104"/>
            <a:ext cx="1582264"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Value Propositions</a:t>
            </a:r>
          </a:p>
        </p:txBody>
      </p:sp>
      <p:sp>
        <p:nvSpPr>
          <p:cNvPr id="30" name="TextBox 29">
            <a:extLst>
              <a:ext uri="{FF2B5EF4-FFF2-40B4-BE49-F238E27FC236}">
                <a16:creationId xmlns:a16="http://schemas.microsoft.com/office/drawing/2014/main" id="{60E12E59-2579-84B6-8B86-7271B7487E53}"/>
              </a:ext>
            </a:extLst>
          </p:cNvPr>
          <p:cNvSpPr txBox="1"/>
          <p:nvPr userDrawn="1"/>
        </p:nvSpPr>
        <p:spPr>
          <a:xfrm>
            <a:off x="5774720" y="744604"/>
            <a:ext cx="1916045" cy="368627"/>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ustomer </a:t>
            </a:r>
          </a:p>
          <a:p>
            <a:pPr marL="72000" algn="l">
              <a:lnSpc>
                <a:spcPct val="114000"/>
              </a:lnSpc>
            </a:pPr>
            <a:r>
              <a:rPr lang="en-US" sz="1100" b="1">
                <a:solidFill>
                  <a:schemeClr val="bg1">
                    <a:lumMod val="95000"/>
                  </a:schemeClr>
                </a:solidFill>
                <a:latin typeface="+mj-lt"/>
              </a:rPr>
              <a:t>Relationships</a:t>
            </a:r>
          </a:p>
        </p:txBody>
      </p:sp>
      <p:sp>
        <p:nvSpPr>
          <p:cNvPr id="31" name="TextBox 30">
            <a:extLst>
              <a:ext uri="{FF2B5EF4-FFF2-40B4-BE49-F238E27FC236}">
                <a16:creationId xmlns:a16="http://schemas.microsoft.com/office/drawing/2014/main" id="{F8178A16-7A12-AAD4-D8D5-F2CCB2ED7493}"/>
              </a:ext>
            </a:extLst>
          </p:cNvPr>
          <p:cNvSpPr txBox="1"/>
          <p:nvPr userDrawn="1"/>
        </p:nvSpPr>
        <p:spPr>
          <a:xfrm>
            <a:off x="5774720" y="1917779"/>
            <a:ext cx="1916045"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Channels</a:t>
            </a:r>
          </a:p>
        </p:txBody>
      </p:sp>
      <p:sp>
        <p:nvSpPr>
          <p:cNvPr id="32" name="TextBox 31">
            <a:extLst>
              <a:ext uri="{FF2B5EF4-FFF2-40B4-BE49-F238E27FC236}">
                <a16:creationId xmlns:a16="http://schemas.microsoft.com/office/drawing/2014/main" id="{E4F4443B-EAD8-B8C5-940C-DE1BDD6EECAC}"/>
              </a:ext>
            </a:extLst>
          </p:cNvPr>
          <p:cNvSpPr txBox="1"/>
          <p:nvPr userDrawn="1"/>
        </p:nvSpPr>
        <p:spPr>
          <a:xfrm>
            <a:off x="5774720" y="2995100"/>
            <a:ext cx="1916045" cy="175626"/>
          </a:xfrm>
          <a:prstGeom prst="rect">
            <a:avLst/>
          </a:prstGeom>
          <a:noFill/>
        </p:spPr>
        <p:txBody>
          <a:bodyPr wrap="square" lIns="0" tIns="0" rIns="0" bIns="0" rtlCol="0" anchor="ctr">
            <a:spAutoFit/>
          </a:bodyPr>
          <a:lstStyle/>
          <a:p>
            <a:pPr marL="72000" algn="l">
              <a:lnSpc>
                <a:spcPct val="114000"/>
              </a:lnSpc>
            </a:pPr>
            <a:r>
              <a:rPr lang="en-US" sz="1100" b="1">
                <a:solidFill>
                  <a:schemeClr val="bg1">
                    <a:lumMod val="95000"/>
                  </a:schemeClr>
                </a:solidFill>
                <a:latin typeface="+mj-lt"/>
              </a:rPr>
              <a:t>Data Insights</a:t>
            </a:r>
          </a:p>
        </p:txBody>
      </p:sp>
      <p:pic>
        <p:nvPicPr>
          <p:cNvPr id="33" name="Grafik 41" descr="Zielgruppe Silhouette">
            <a:extLst>
              <a:ext uri="{FF2B5EF4-FFF2-40B4-BE49-F238E27FC236}">
                <a16:creationId xmlns:a16="http://schemas.microsoft.com/office/drawing/2014/main" id="{3ECE7A7E-7300-4FC7-5318-824F881334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328936" y="784917"/>
            <a:ext cx="288000" cy="288000"/>
          </a:xfrm>
          <a:prstGeom prst="rect">
            <a:avLst/>
          </a:prstGeom>
        </p:spPr>
      </p:pic>
      <p:pic>
        <p:nvPicPr>
          <p:cNvPr id="34" name="Grafik 45" descr="Statistiken Silhouette">
            <a:extLst>
              <a:ext uri="{FF2B5EF4-FFF2-40B4-BE49-F238E27FC236}">
                <a16:creationId xmlns:a16="http://schemas.microsoft.com/office/drawing/2014/main" id="{3CC663AC-6C24-DA51-FBF7-60E13F4B0C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flipH="1">
            <a:off x="5486720" y="2938913"/>
            <a:ext cx="288000" cy="288000"/>
          </a:xfrm>
          <a:prstGeom prst="rect">
            <a:avLst/>
          </a:prstGeom>
        </p:spPr>
      </p:pic>
      <p:pic>
        <p:nvPicPr>
          <p:cNvPr id="35" name="Grafik 48" descr="Telearbeit Silhouette">
            <a:extLst>
              <a:ext uri="{FF2B5EF4-FFF2-40B4-BE49-F238E27FC236}">
                <a16:creationId xmlns:a16="http://schemas.microsoft.com/office/drawing/2014/main" id="{7CB696AA-CF6A-2279-97AD-7FA0B1F729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7550" y="2393776"/>
            <a:ext cx="288000" cy="288000"/>
          </a:xfrm>
          <a:prstGeom prst="rect">
            <a:avLst/>
          </a:prstGeom>
        </p:spPr>
      </p:pic>
      <p:pic>
        <p:nvPicPr>
          <p:cNvPr id="36" name="Grafik 49" descr="Callcenter Silhouette">
            <a:extLst>
              <a:ext uri="{FF2B5EF4-FFF2-40B4-BE49-F238E27FC236}">
                <a16:creationId xmlns:a16="http://schemas.microsoft.com/office/drawing/2014/main" id="{D9568CF9-68D4-8082-BDB4-B878ED4F226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486720" y="784917"/>
            <a:ext cx="288000" cy="288000"/>
          </a:xfrm>
          <a:prstGeom prst="rect">
            <a:avLst/>
          </a:prstGeom>
        </p:spPr>
      </p:pic>
      <p:pic>
        <p:nvPicPr>
          <p:cNvPr id="37" name="Grafik 50" descr="Freisprechanlage Silhouette">
            <a:extLst>
              <a:ext uri="{FF2B5EF4-FFF2-40B4-BE49-F238E27FC236}">
                <a16:creationId xmlns:a16="http://schemas.microsoft.com/office/drawing/2014/main" id="{04914B57-BFB0-D30F-350A-2031D33026C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486720" y="1861592"/>
            <a:ext cx="288000" cy="288000"/>
          </a:xfrm>
          <a:prstGeom prst="rect">
            <a:avLst/>
          </a:prstGeom>
        </p:spPr>
      </p:pic>
      <p:pic>
        <p:nvPicPr>
          <p:cNvPr id="38" name="Graphic 37" descr="Flowchart outline">
            <a:extLst>
              <a:ext uri="{FF2B5EF4-FFF2-40B4-BE49-F238E27FC236}">
                <a16:creationId xmlns:a16="http://schemas.microsoft.com/office/drawing/2014/main" id="{EC932835-ECAE-896C-E695-C31F0095F196}"/>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887296" y="784917"/>
            <a:ext cx="288000" cy="288000"/>
          </a:xfrm>
          <a:prstGeom prst="rect">
            <a:avLst/>
          </a:prstGeom>
        </p:spPr>
      </p:pic>
      <p:pic>
        <p:nvPicPr>
          <p:cNvPr id="39" name="Graphic 38" descr="Raw Materials outline">
            <a:extLst>
              <a:ext uri="{FF2B5EF4-FFF2-40B4-BE49-F238E27FC236}">
                <a16:creationId xmlns:a16="http://schemas.microsoft.com/office/drawing/2014/main" id="{52474CED-5D24-4D5F-49A5-6457B956B6F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887296" y="1861592"/>
            <a:ext cx="288000" cy="288000"/>
          </a:xfrm>
          <a:prstGeom prst="rect">
            <a:avLst/>
          </a:prstGeom>
        </p:spPr>
      </p:pic>
      <p:pic>
        <p:nvPicPr>
          <p:cNvPr id="40" name="Graphic 39" descr="Cheers outline">
            <a:extLst>
              <a:ext uri="{FF2B5EF4-FFF2-40B4-BE49-F238E27FC236}">
                <a16:creationId xmlns:a16="http://schemas.microsoft.com/office/drawing/2014/main" id="{DDAB463C-D4ED-D4B0-124A-C7F586C0F5F7}"/>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7550" y="784917"/>
            <a:ext cx="288000" cy="288000"/>
          </a:xfrm>
          <a:prstGeom prst="rect">
            <a:avLst/>
          </a:prstGeom>
        </p:spPr>
      </p:pic>
      <p:pic>
        <p:nvPicPr>
          <p:cNvPr id="41" name="Graphic 40" descr="Open hand with plant outline">
            <a:extLst>
              <a:ext uri="{FF2B5EF4-FFF2-40B4-BE49-F238E27FC236}">
                <a16:creationId xmlns:a16="http://schemas.microsoft.com/office/drawing/2014/main" id="{0D4F4607-C237-1B2F-76EF-43409960B15B}"/>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3698316" y="784917"/>
            <a:ext cx="288000" cy="288000"/>
          </a:xfrm>
          <a:prstGeom prst="rect">
            <a:avLst/>
          </a:prstGeom>
        </p:spPr>
      </p:pic>
      <p:pic>
        <p:nvPicPr>
          <p:cNvPr id="42" name="Graphic 41" descr="Coins outline">
            <a:extLst>
              <a:ext uri="{FF2B5EF4-FFF2-40B4-BE49-F238E27FC236}">
                <a16:creationId xmlns:a16="http://schemas.microsoft.com/office/drawing/2014/main" id="{375EF1CD-F8DD-0D81-C144-535F8939835E}"/>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550" y="4029186"/>
            <a:ext cx="288000" cy="288000"/>
          </a:xfrm>
          <a:prstGeom prst="rect">
            <a:avLst/>
          </a:prstGeom>
        </p:spPr>
      </p:pic>
      <p:pic>
        <p:nvPicPr>
          <p:cNvPr id="43" name="Graphic 42" descr="Usb Stick outline">
            <a:extLst>
              <a:ext uri="{FF2B5EF4-FFF2-40B4-BE49-F238E27FC236}">
                <a16:creationId xmlns:a16="http://schemas.microsoft.com/office/drawing/2014/main" id="{849ABBF6-8094-7847-0FEB-37AA8A7A6AEE}"/>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887296" y="2938913"/>
            <a:ext cx="288000" cy="288000"/>
          </a:xfrm>
          <a:prstGeom prst="rect">
            <a:avLst/>
          </a:prstGeom>
        </p:spPr>
      </p:pic>
      <p:pic>
        <p:nvPicPr>
          <p:cNvPr id="44" name="Graphic 43" descr="Loan outline">
            <a:extLst>
              <a:ext uri="{FF2B5EF4-FFF2-40B4-BE49-F238E27FC236}">
                <a16:creationId xmlns:a16="http://schemas.microsoft.com/office/drawing/2014/main" id="{54567EE2-619F-616A-B56D-D0751488B198}"/>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4585756" y="4029186"/>
            <a:ext cx="288000" cy="288000"/>
          </a:xfrm>
          <a:prstGeom prst="rect">
            <a:avLst/>
          </a:prstGeom>
        </p:spPr>
      </p:pic>
      <p:sp>
        <p:nvSpPr>
          <p:cNvPr id="45" name="TextBox 44">
            <a:extLst>
              <a:ext uri="{FF2B5EF4-FFF2-40B4-BE49-F238E27FC236}">
                <a16:creationId xmlns:a16="http://schemas.microsoft.com/office/drawing/2014/main" id="{F6E5502F-7FE0-DDBC-36D7-164A22C1A870}"/>
              </a:ext>
            </a:extLst>
          </p:cNvPr>
          <p:cNvSpPr txBox="1"/>
          <p:nvPr userDrawn="1"/>
        </p:nvSpPr>
        <p:spPr>
          <a:xfrm>
            <a:off x="74879" y="476077"/>
            <a:ext cx="2454745" cy="223523"/>
          </a:xfrm>
          <a:prstGeom prst="rect">
            <a:avLst/>
          </a:prstGeom>
          <a:noFill/>
        </p:spPr>
        <p:txBody>
          <a:bodyPr wrap="square" lIns="0" tIns="0" rIns="0" bIns="0" rtlCol="0">
            <a:spAutoFit/>
          </a:bodyPr>
          <a:lstStyle/>
          <a:p>
            <a:pPr algn="ctr">
              <a:lnSpc>
                <a:spcPct val="114000"/>
              </a:lnSpc>
            </a:pPr>
            <a:r>
              <a:rPr lang="en-US" sz="1400" b="1" dirty="0">
                <a:solidFill>
                  <a:schemeClr val="bg1">
                    <a:lumMod val="95000"/>
                  </a:schemeClr>
                </a:solidFill>
                <a:latin typeface="+mj-lt"/>
              </a:rPr>
              <a:t>Business Modelling Canvas</a:t>
            </a:r>
          </a:p>
        </p:txBody>
      </p:sp>
    </p:spTree>
    <p:extLst>
      <p:ext uri="{BB962C8B-B14F-4D97-AF65-F5344CB8AC3E}">
        <p14:creationId xmlns:p14="http://schemas.microsoft.com/office/powerpoint/2010/main" val="286016840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plementation_Roadmap">
    <p:spTree>
      <p:nvGrpSpPr>
        <p:cNvPr id="1" name=""/>
        <p:cNvGrpSpPr/>
        <p:nvPr/>
      </p:nvGrpSpPr>
      <p:grpSpPr>
        <a:xfrm>
          <a:off x="0" y="0"/>
          <a:ext cx="0" cy="0"/>
          <a:chOff x="0" y="0"/>
          <a:chExt cx="0" cy="0"/>
        </a:xfrm>
      </p:grpSpPr>
      <p:sp>
        <p:nvSpPr>
          <p:cNvPr id="3" name="Rechteck: obere Ecken, eine abgerundet, eine abgeschnitten 5">
            <a:extLst>
              <a:ext uri="{FF2B5EF4-FFF2-40B4-BE49-F238E27FC236}">
                <a16:creationId xmlns:a16="http://schemas.microsoft.com/office/drawing/2014/main" id="{78078812-2671-674A-88A0-F341A8F6414E}"/>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4" name="Action Button: Go Home 3">
            <a:hlinkClick r:id="" action="ppaction://hlinkshowjump?jump=firstslide" highlightClick="1"/>
            <a:extLst>
              <a:ext uri="{FF2B5EF4-FFF2-40B4-BE49-F238E27FC236}">
                <a16:creationId xmlns:a16="http://schemas.microsoft.com/office/drawing/2014/main" id="{6D9B1AAF-9471-CD2B-5FAA-A04D89FBAA44}"/>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5" name="Action Button: Go Back or Previous 4">
            <a:hlinkClick r:id="" action="ppaction://hlinkshowjump?jump=lastslideviewed" highlightClick="1"/>
            <a:extLst>
              <a:ext uri="{FF2B5EF4-FFF2-40B4-BE49-F238E27FC236}">
                <a16:creationId xmlns:a16="http://schemas.microsoft.com/office/drawing/2014/main" id="{D9122C82-5F8F-27F9-052F-53B1BF9BB4D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6" name="Action Button: Go Forward or Next 5">
            <a:hlinkClick r:id="" action="ppaction://hlinkshowjump?jump=nextslide" highlightClick="1"/>
            <a:extLst>
              <a:ext uri="{FF2B5EF4-FFF2-40B4-BE49-F238E27FC236}">
                <a16:creationId xmlns:a16="http://schemas.microsoft.com/office/drawing/2014/main" id="{7B22BCB9-F127-D038-3A34-F88D9F708F21}"/>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 name="Title 158">
            <a:extLst>
              <a:ext uri="{FF2B5EF4-FFF2-40B4-BE49-F238E27FC236}">
                <a16:creationId xmlns:a16="http://schemas.microsoft.com/office/drawing/2014/main" id="{4627C36D-33D8-C04C-7D9F-3946D82E630A}"/>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8" name="Rechteck 7">
            <a:extLst>
              <a:ext uri="{FF2B5EF4-FFF2-40B4-BE49-F238E27FC236}">
                <a16:creationId xmlns:a16="http://schemas.microsoft.com/office/drawing/2014/main" id="{6255C0E2-41CA-5374-812A-C57DBA1A39D0}"/>
              </a:ext>
            </a:extLst>
          </p:cNvPr>
          <p:cNvSpPr/>
          <p:nvPr userDrawn="1"/>
        </p:nvSpPr>
        <p:spPr>
          <a:xfrm>
            <a:off x="241048" y="0"/>
            <a:ext cx="1575056" cy="400110"/>
          </a:xfrm>
          <a:prstGeom prst="rect">
            <a:avLst/>
          </a:prstGeom>
        </p:spPr>
        <p:txBody>
          <a:bodyPr wrap="square">
            <a:spAutoFit/>
          </a:bodyPr>
          <a:lstStyle/>
          <a:p>
            <a:pPr defTabSz="1023614"/>
            <a:r>
              <a:rPr lang="en-US" sz="1000" b="1" dirty="0">
                <a:solidFill>
                  <a:schemeClr val="tx2"/>
                </a:solidFill>
              </a:rPr>
              <a:t>HOW </a:t>
            </a:r>
            <a:r>
              <a:rPr lang="en-US" sz="1000" b="0" dirty="0">
                <a:solidFill>
                  <a:schemeClr val="tx2"/>
                </a:solidFill>
              </a:rPr>
              <a:t>should the use case be </a:t>
            </a:r>
            <a:r>
              <a:rPr lang="en-US" sz="1000" b="1" dirty="0">
                <a:solidFill>
                  <a:schemeClr val="tx2"/>
                </a:solidFill>
              </a:rPr>
              <a:t>implemented?</a:t>
            </a:r>
            <a:endParaRPr lang="en-US" sz="1000" dirty="0">
              <a:solidFill>
                <a:schemeClr val="tx2"/>
              </a:solidFill>
            </a:endParaRPr>
          </a:p>
        </p:txBody>
      </p:sp>
      <p:pic>
        <p:nvPicPr>
          <p:cNvPr id="9" name="Graphic 8" descr="Lightbulb and gear outline">
            <a:extLst>
              <a:ext uri="{FF2B5EF4-FFF2-40B4-BE49-F238E27FC236}">
                <a16:creationId xmlns:a16="http://schemas.microsoft.com/office/drawing/2014/main" id="{C78285EE-82EC-C351-FC62-CB1278DAD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Tree>
    <p:extLst>
      <p:ext uri="{BB962C8B-B14F-4D97-AF65-F5344CB8AC3E}">
        <p14:creationId xmlns:p14="http://schemas.microsoft.com/office/powerpoint/2010/main" val="415857624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chluss_englisch">
    <p:spTree>
      <p:nvGrpSpPr>
        <p:cNvPr id="1" name=""/>
        <p:cNvGrpSpPr/>
        <p:nvPr/>
      </p:nvGrpSpPr>
      <p:grpSpPr>
        <a:xfrm>
          <a:off x="0" y="0"/>
          <a:ext cx="0" cy="0"/>
          <a:chOff x="0" y="0"/>
          <a:chExt cx="0" cy="0"/>
        </a:xfrm>
      </p:grpSpPr>
      <p:pic>
        <p:nvPicPr>
          <p:cNvPr id="5" name="Bild 4" descr="Fahnen_HG.jpg"/>
          <p:cNvPicPr>
            <a:picLocks noChangeAspect="1"/>
          </p:cNvPicPr>
          <p:nvPr userDrawn="1"/>
        </p:nvPicPr>
        <p:blipFill>
          <a:blip r:embed="rId2" cstate="screen"/>
          <a:srcRect l="398" t="14167" b="10833"/>
          <a:stretch>
            <a:fillRect/>
          </a:stretch>
        </p:blipFill>
        <p:spPr>
          <a:xfrm>
            <a:off x="0" y="0"/>
            <a:ext cx="9144000" cy="5143500"/>
          </a:xfrm>
          <a:prstGeom prst="rect">
            <a:avLst/>
          </a:prstGeom>
        </p:spPr>
      </p:pic>
      <p:pic>
        <p:nvPicPr>
          <p:cNvPr id="12" name="Bild 6" descr="20150416 tum logo blau png final.png"/>
          <p:cNvPicPr>
            <a:picLocks noChangeAspect="1"/>
          </p:cNvPicPr>
          <p:nvPr userDrawn="1"/>
        </p:nvPicPr>
        <p:blipFill>
          <a:blip r:embed="rId3"/>
          <a:stretch>
            <a:fillRect/>
          </a:stretch>
        </p:blipFill>
        <p:spPr>
          <a:xfrm>
            <a:off x="8218800" y="324000"/>
            <a:ext cx="599513" cy="320288"/>
          </a:xfrm>
          <a:prstGeom prst="rect">
            <a:avLst/>
          </a:prstGeom>
        </p:spPr>
      </p:pic>
      <p:sp>
        <p:nvSpPr>
          <p:cNvPr id="13" name="Textfeld 12"/>
          <p:cNvSpPr txBox="1"/>
          <p:nvPr userDrawn="1"/>
        </p:nvSpPr>
        <p:spPr>
          <a:xfrm>
            <a:off x="323999" y="792000"/>
            <a:ext cx="5760000" cy="432000"/>
          </a:xfrm>
          <a:prstGeom prst="rect">
            <a:avLst/>
          </a:prstGeom>
          <a:noFill/>
        </p:spPr>
        <p:txBody>
          <a:bodyPr wrap="none" lIns="0" tIns="0" rIns="0" bIns="0" rtlCol="0">
            <a:noAutofit/>
          </a:bodyPr>
          <a:lstStyle/>
          <a:p>
            <a:r>
              <a:rPr lang="en-US" sz="2400" dirty="0">
                <a:solidFill>
                  <a:schemeClr val="bg1"/>
                </a:solidFill>
              </a:rPr>
              <a:t>Thank you for your attention!</a:t>
            </a:r>
            <a:endParaRPr lang="de-DE" sz="2400" dirty="0">
              <a:solidFill>
                <a:schemeClr val="bg1"/>
              </a:solidFill>
            </a:endParaRPr>
          </a:p>
        </p:txBody>
      </p:sp>
      <p:pic>
        <p:nvPicPr>
          <p:cNvPr id="8" name="Grafik 1" descr="Ein Bild, das Text enthält.&#10;&#10;Automatisch generierte Beschreibung">
            <a:extLst>
              <a:ext uri="{FF2B5EF4-FFF2-40B4-BE49-F238E27FC236}">
                <a16:creationId xmlns:a16="http://schemas.microsoft.com/office/drawing/2014/main" id="{D579C560-0FF5-39A1-2449-33A0B349F05E}"/>
              </a:ext>
            </a:extLst>
          </p:cNvPr>
          <p:cNvPicPr>
            <a:picLocks noChangeAspect="1"/>
          </p:cNvPicPr>
          <p:nvPr userDrawn="1"/>
        </p:nvPicPr>
        <p:blipFill>
          <a:blip r:embed="rId4"/>
          <a:stretch>
            <a:fillRect/>
          </a:stretch>
        </p:blipFill>
        <p:spPr>
          <a:xfrm>
            <a:off x="324000" y="3744000"/>
            <a:ext cx="1404521" cy="889347"/>
          </a:xfrm>
          <a:prstGeom prst="rect">
            <a:avLst/>
          </a:prstGeom>
        </p:spPr>
      </p:pic>
    </p:spTree>
    <p:extLst>
      <p:ext uri="{BB962C8B-B14F-4D97-AF65-F5344CB8AC3E}">
        <p14:creationId xmlns:p14="http://schemas.microsoft.com/office/powerpoint/2010/main" val="1326621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dditional-Information">
    <p:spTree>
      <p:nvGrpSpPr>
        <p:cNvPr id="1" name=""/>
        <p:cNvGrpSpPr/>
        <p:nvPr/>
      </p:nvGrpSpPr>
      <p:grpSpPr>
        <a:xfrm>
          <a:off x="0" y="0"/>
          <a:ext cx="0" cy="0"/>
          <a:chOff x="0" y="0"/>
          <a:chExt cx="0" cy="0"/>
        </a:xfrm>
      </p:grpSpPr>
      <p:sp>
        <p:nvSpPr>
          <p:cNvPr id="9" name="Rechteck: obere Ecken, eine abgerundet, eine abgeschnitten 5">
            <a:extLst>
              <a:ext uri="{FF2B5EF4-FFF2-40B4-BE49-F238E27FC236}">
                <a16:creationId xmlns:a16="http://schemas.microsoft.com/office/drawing/2014/main" id="{AECA17F6-8EA8-DD55-B3F4-1FA9C5C6925A}"/>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0" name="Action Button: Go Home 9">
            <a:hlinkClick r:id="" action="ppaction://hlinkshowjump?jump=firstslide" highlightClick="1"/>
            <a:extLst>
              <a:ext uri="{FF2B5EF4-FFF2-40B4-BE49-F238E27FC236}">
                <a16:creationId xmlns:a16="http://schemas.microsoft.com/office/drawing/2014/main" id="{51654EDD-4ECD-0D0B-D09A-63BB00E9EF70}"/>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1" name="Action Button: Go Back or Previous 10">
            <a:hlinkClick r:id="" action="ppaction://hlinkshowjump?jump=lastslideviewed" highlightClick="1"/>
            <a:extLst>
              <a:ext uri="{FF2B5EF4-FFF2-40B4-BE49-F238E27FC236}">
                <a16:creationId xmlns:a16="http://schemas.microsoft.com/office/drawing/2014/main" id="{A7DA4A37-7BE3-D7E1-6544-501290640E8E}"/>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2" name="Action Button: Go Forward or Next 11">
            <a:hlinkClick r:id="" action="ppaction://hlinkshowjump?jump=nextslide" highlightClick="1"/>
            <a:extLst>
              <a:ext uri="{FF2B5EF4-FFF2-40B4-BE49-F238E27FC236}">
                <a16:creationId xmlns:a16="http://schemas.microsoft.com/office/drawing/2014/main" id="{94DD086A-3AE6-0DFF-B6B8-BD442DA829E7}"/>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3" name="Title 158">
            <a:extLst>
              <a:ext uri="{FF2B5EF4-FFF2-40B4-BE49-F238E27FC236}">
                <a16:creationId xmlns:a16="http://schemas.microsoft.com/office/drawing/2014/main" id="{70557FDF-492C-6316-A09C-0144A28E81E9}"/>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3" name="Rechteck 7">
            <a:extLst>
              <a:ext uri="{FF2B5EF4-FFF2-40B4-BE49-F238E27FC236}">
                <a16:creationId xmlns:a16="http://schemas.microsoft.com/office/drawing/2014/main" id="{C87A66D9-0E62-5149-B731-3D40F5A61825}"/>
              </a:ext>
            </a:extLst>
          </p:cNvPr>
          <p:cNvSpPr/>
          <p:nvPr userDrawn="1"/>
        </p:nvSpPr>
        <p:spPr>
          <a:xfrm>
            <a:off x="241048" y="0"/>
            <a:ext cx="1575056" cy="400110"/>
          </a:xfrm>
          <a:prstGeom prst="rect">
            <a:avLst/>
          </a:prstGeom>
        </p:spPr>
        <p:txBody>
          <a:bodyPr wrap="square">
            <a:spAutoFit/>
          </a:bodyPr>
          <a:lstStyle/>
          <a:p>
            <a:pPr defTabSz="1023614"/>
            <a:r>
              <a:rPr lang="en-US" sz="1000" b="1" dirty="0">
                <a:solidFill>
                  <a:schemeClr val="tx2"/>
                </a:solidFill>
              </a:rPr>
              <a:t>Additional </a:t>
            </a:r>
          </a:p>
          <a:p>
            <a:pPr defTabSz="1023614"/>
            <a:r>
              <a:rPr lang="en-US" sz="1000" b="1" dirty="0">
                <a:solidFill>
                  <a:schemeClr val="tx2"/>
                </a:solidFill>
              </a:rPr>
              <a:t>Information</a:t>
            </a:r>
            <a:endParaRPr lang="en-US" sz="1000" dirty="0">
              <a:solidFill>
                <a:schemeClr val="tx2"/>
              </a:solidFill>
            </a:endParaRPr>
          </a:p>
        </p:txBody>
      </p:sp>
      <p:pic>
        <p:nvPicPr>
          <p:cNvPr id="4" name="Graphic 3" descr="Information outline">
            <a:extLst>
              <a:ext uri="{FF2B5EF4-FFF2-40B4-BE49-F238E27FC236}">
                <a16:creationId xmlns:a16="http://schemas.microsoft.com/office/drawing/2014/main" id="{C2CC5B05-CA43-4292-EA0A-680E281F37A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5875" y="56055"/>
            <a:ext cx="288000" cy="288000"/>
          </a:xfrm>
          <a:prstGeom prst="rect">
            <a:avLst/>
          </a:prstGeom>
        </p:spPr>
      </p:pic>
    </p:spTree>
    <p:extLst>
      <p:ext uri="{BB962C8B-B14F-4D97-AF65-F5344CB8AC3E}">
        <p14:creationId xmlns:p14="http://schemas.microsoft.com/office/powerpoint/2010/main" val="287884536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888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154" name="Rechteck: obere Ecken, eine abgerundet, eine abgeschnitten 5">
            <a:extLst>
              <a:ext uri="{FF2B5EF4-FFF2-40B4-BE49-F238E27FC236}">
                <a16:creationId xmlns:a16="http://schemas.microsoft.com/office/drawing/2014/main" id="{B63598A8-B973-502A-5F68-CE31D4A57331}"/>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1" name="Rechteck 7">
            <a:extLst>
              <a:ext uri="{FF2B5EF4-FFF2-40B4-BE49-F238E27FC236}">
                <a16:creationId xmlns:a16="http://schemas.microsoft.com/office/drawing/2014/main" id="{A0EC2FF3-1AB5-F19C-9165-8F0F7A3E2E89}"/>
              </a:ext>
            </a:extLst>
          </p:cNvPr>
          <p:cNvSpPr/>
          <p:nvPr userDrawn="1"/>
        </p:nvSpPr>
        <p:spPr>
          <a:xfrm>
            <a:off x="335149" y="0"/>
            <a:ext cx="1366651"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WHAT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is the </a:t>
            </a: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Use Case?</a:t>
            </a:r>
          </a:p>
        </p:txBody>
      </p:sp>
      <p:pic>
        <p:nvPicPr>
          <p:cNvPr id="18" name="Graphic 15" descr="Bullseye outline">
            <a:extLst>
              <a:ext uri="{FF2B5EF4-FFF2-40B4-BE49-F238E27FC236}">
                <a16:creationId xmlns:a16="http://schemas.microsoft.com/office/drawing/2014/main" id="{FB87230B-7820-2E86-44BE-6F384FC306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34" y="64932"/>
            <a:ext cx="252000" cy="252000"/>
          </a:xfrm>
          <a:prstGeom prst="rect">
            <a:avLst/>
          </a:prstGeom>
        </p:spPr>
      </p:pic>
      <p:sp>
        <p:nvSpPr>
          <p:cNvPr id="72" name="Rechteck: abgerundete Ecken 64">
            <a:extLst>
              <a:ext uri="{FF2B5EF4-FFF2-40B4-BE49-F238E27FC236}">
                <a16:creationId xmlns:a16="http://schemas.microsoft.com/office/drawing/2014/main" id="{CA41234F-2DE1-B0DF-5524-8EF4726FE774}"/>
              </a:ext>
            </a:extLst>
          </p:cNvPr>
          <p:cNvSpPr/>
          <p:nvPr userDrawn="1"/>
        </p:nvSpPr>
        <p:spPr>
          <a:xfrm>
            <a:off x="19008" y="696215"/>
            <a:ext cx="3536539" cy="1390819"/>
          </a:xfrm>
          <a:prstGeom prst="roundRect">
            <a:avLst>
              <a:gd name="adj" fmla="val 284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Problem</a:t>
            </a:r>
            <a:endParaRPr lang="en-US" sz="1000" b="1" dirty="0">
              <a:solidFill>
                <a:schemeClr val="tx1"/>
              </a:solidFill>
            </a:endParaRPr>
          </a:p>
        </p:txBody>
      </p:sp>
      <p:sp>
        <p:nvSpPr>
          <p:cNvPr id="73" name="Rechteck: abgerundete Ecken 65">
            <a:extLst>
              <a:ext uri="{FF2B5EF4-FFF2-40B4-BE49-F238E27FC236}">
                <a16:creationId xmlns:a16="http://schemas.microsoft.com/office/drawing/2014/main" id="{D72F3B55-446C-82C1-1C33-245969C90473}"/>
              </a:ext>
            </a:extLst>
          </p:cNvPr>
          <p:cNvSpPr/>
          <p:nvPr userDrawn="1"/>
        </p:nvSpPr>
        <p:spPr>
          <a:xfrm>
            <a:off x="3581798" y="696177"/>
            <a:ext cx="3524400" cy="1395554"/>
          </a:xfrm>
          <a:prstGeom prst="roundRect">
            <a:avLst>
              <a:gd name="adj" fmla="val 283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Goal</a:t>
            </a:r>
            <a:endParaRPr lang="en-US" sz="1100" b="1" dirty="0">
              <a:solidFill>
                <a:schemeClr val="tx1"/>
              </a:solidFill>
            </a:endParaRPr>
          </a:p>
        </p:txBody>
      </p:sp>
      <p:sp>
        <p:nvSpPr>
          <p:cNvPr id="74" name="Rechteck: abgerundete Ecken 66">
            <a:extLst>
              <a:ext uri="{FF2B5EF4-FFF2-40B4-BE49-F238E27FC236}">
                <a16:creationId xmlns:a16="http://schemas.microsoft.com/office/drawing/2014/main" id="{418827B4-3FBE-50FA-7010-2559C68EB7A9}"/>
              </a:ext>
            </a:extLst>
          </p:cNvPr>
          <p:cNvSpPr/>
          <p:nvPr userDrawn="1"/>
        </p:nvSpPr>
        <p:spPr>
          <a:xfrm>
            <a:off x="7132449" y="690835"/>
            <a:ext cx="1992542" cy="1395554"/>
          </a:xfrm>
          <a:prstGeom prst="roundRect">
            <a:avLst>
              <a:gd name="adj" fmla="val 283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Stakeholder</a:t>
            </a:r>
            <a:endParaRPr lang="en-US" sz="800" dirty="0">
              <a:solidFill>
                <a:schemeClr val="tx1"/>
              </a:solidFill>
            </a:endParaRPr>
          </a:p>
        </p:txBody>
      </p:sp>
      <p:sp>
        <p:nvSpPr>
          <p:cNvPr id="75" name="Rechteck: abgerundete Ecken 69">
            <a:extLst>
              <a:ext uri="{FF2B5EF4-FFF2-40B4-BE49-F238E27FC236}">
                <a16:creationId xmlns:a16="http://schemas.microsoft.com/office/drawing/2014/main" id="{54F5756C-3B76-65ED-596C-DF389DD606E1}"/>
              </a:ext>
            </a:extLst>
          </p:cNvPr>
          <p:cNvSpPr/>
          <p:nvPr userDrawn="1"/>
        </p:nvSpPr>
        <p:spPr>
          <a:xfrm>
            <a:off x="7132449" y="3324239"/>
            <a:ext cx="1994400" cy="870206"/>
          </a:xfrm>
          <a:prstGeom prst="roundRect">
            <a:avLst>
              <a:gd name="adj" fmla="val 455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dirty="0">
                <a:solidFill>
                  <a:schemeClr val="tx1"/>
                </a:solidFill>
              </a:rPr>
              <a:t>Use Phase Data: </a:t>
            </a:r>
          </a:p>
        </p:txBody>
      </p:sp>
      <p:sp>
        <p:nvSpPr>
          <p:cNvPr id="76" name="Rechteck: abgerundete Ecken 71">
            <a:extLst>
              <a:ext uri="{FF2B5EF4-FFF2-40B4-BE49-F238E27FC236}">
                <a16:creationId xmlns:a16="http://schemas.microsoft.com/office/drawing/2014/main" id="{F0F1C157-DF4E-3990-1152-1BBE17D1BE18}"/>
              </a:ext>
            </a:extLst>
          </p:cNvPr>
          <p:cNvSpPr/>
          <p:nvPr userDrawn="1"/>
        </p:nvSpPr>
        <p:spPr>
          <a:xfrm>
            <a:off x="5109119" y="3324239"/>
            <a:ext cx="1994400" cy="611444"/>
          </a:xfrm>
          <a:prstGeom prst="roundRect">
            <a:avLst>
              <a:gd name="adj" fmla="val 6476"/>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Product:</a:t>
            </a:r>
            <a:endParaRPr lang="en-US" sz="800" dirty="0">
              <a:solidFill>
                <a:schemeClr val="tx1"/>
              </a:solidFill>
            </a:endParaRPr>
          </a:p>
        </p:txBody>
      </p:sp>
      <p:sp>
        <p:nvSpPr>
          <p:cNvPr id="77" name="Rechteck: abgerundete Ecken 72">
            <a:extLst>
              <a:ext uri="{FF2B5EF4-FFF2-40B4-BE49-F238E27FC236}">
                <a16:creationId xmlns:a16="http://schemas.microsoft.com/office/drawing/2014/main" id="{1BA41F7C-99E0-2B3D-04D2-1579499CE6EC}"/>
              </a:ext>
            </a:extLst>
          </p:cNvPr>
          <p:cNvSpPr/>
          <p:nvPr userDrawn="1"/>
        </p:nvSpPr>
        <p:spPr>
          <a:xfrm>
            <a:off x="5109119" y="3966387"/>
            <a:ext cx="1994400" cy="569110"/>
          </a:xfrm>
          <a:prstGeom prst="roundRect">
            <a:avLst>
              <a:gd name="adj" fmla="val 6958"/>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Process:</a:t>
            </a:r>
            <a:endParaRPr lang="en-US" sz="700" b="1">
              <a:solidFill>
                <a:schemeClr val="tx1"/>
              </a:solidFill>
            </a:endParaRPr>
          </a:p>
          <a:p>
            <a:pPr>
              <a:lnSpc>
                <a:spcPct val="114000"/>
              </a:lnSpc>
            </a:pPr>
            <a:endParaRPr lang="en-US" sz="800" dirty="0">
              <a:solidFill>
                <a:schemeClr val="tx1"/>
              </a:solidFill>
            </a:endParaRPr>
          </a:p>
        </p:txBody>
      </p:sp>
      <p:sp>
        <p:nvSpPr>
          <p:cNvPr id="78" name="Rechteck: abgerundete Ecken 73">
            <a:extLst>
              <a:ext uri="{FF2B5EF4-FFF2-40B4-BE49-F238E27FC236}">
                <a16:creationId xmlns:a16="http://schemas.microsoft.com/office/drawing/2014/main" id="{3E93D8CD-3A4D-C479-BF55-9D1778107EDE}"/>
              </a:ext>
            </a:extLst>
          </p:cNvPr>
          <p:cNvSpPr/>
          <p:nvPr userDrawn="1"/>
        </p:nvSpPr>
        <p:spPr>
          <a:xfrm>
            <a:off x="5109119" y="4566202"/>
            <a:ext cx="1994400" cy="545976"/>
          </a:xfrm>
          <a:prstGeom prst="roundRect">
            <a:avLst>
              <a:gd name="adj" fmla="val 7253"/>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800" b="1">
                <a:solidFill>
                  <a:schemeClr val="tx1"/>
                </a:solidFill>
              </a:rPr>
              <a:t>Virtual Model:</a:t>
            </a:r>
            <a:endParaRPr lang="en-US" sz="800" dirty="0">
              <a:solidFill>
                <a:schemeClr val="tx1"/>
              </a:solidFill>
            </a:endParaRPr>
          </a:p>
        </p:txBody>
      </p:sp>
      <p:sp>
        <p:nvSpPr>
          <p:cNvPr id="79" name="Rechteck: abgerundete Ecken 116">
            <a:extLst>
              <a:ext uri="{FF2B5EF4-FFF2-40B4-BE49-F238E27FC236}">
                <a16:creationId xmlns:a16="http://schemas.microsoft.com/office/drawing/2014/main" id="{9A8C31BC-E1AD-4F11-A995-061C18662E67}"/>
              </a:ext>
            </a:extLst>
          </p:cNvPr>
          <p:cNvSpPr/>
          <p:nvPr userDrawn="1"/>
        </p:nvSpPr>
        <p:spPr>
          <a:xfrm>
            <a:off x="7132449" y="4236250"/>
            <a:ext cx="1994400" cy="875927"/>
          </a:xfrm>
          <a:prstGeom prst="roundRect">
            <a:avLst>
              <a:gd name="adj" fmla="val 452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dirty="0">
                <a:solidFill>
                  <a:schemeClr val="tx1"/>
                </a:solidFill>
              </a:rPr>
              <a:t>Use Phase Data Source:</a:t>
            </a:r>
            <a:endParaRPr lang="en-US" sz="800" dirty="0">
              <a:solidFill>
                <a:schemeClr val="tx1"/>
              </a:solidFill>
            </a:endParaRPr>
          </a:p>
        </p:txBody>
      </p:sp>
      <p:sp>
        <p:nvSpPr>
          <p:cNvPr id="80" name="Rechteck: abgerundete Ecken 125">
            <a:extLst>
              <a:ext uri="{FF2B5EF4-FFF2-40B4-BE49-F238E27FC236}">
                <a16:creationId xmlns:a16="http://schemas.microsoft.com/office/drawing/2014/main" id="{BC999ACD-4D83-9D3F-8E34-E397E7A7369A}"/>
              </a:ext>
            </a:extLst>
          </p:cNvPr>
          <p:cNvSpPr/>
          <p:nvPr userDrawn="1"/>
        </p:nvSpPr>
        <p:spPr>
          <a:xfrm>
            <a:off x="20598" y="398556"/>
            <a:ext cx="9105982" cy="269261"/>
          </a:xfrm>
          <a:prstGeom prst="roundRect">
            <a:avLst>
              <a:gd name="adj" fmla="val 1470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en-US" sz="1000" b="1">
                <a:solidFill>
                  <a:schemeClr val="tx1"/>
                </a:solidFill>
              </a:rPr>
              <a:t>Title:</a:t>
            </a:r>
            <a:endParaRPr lang="en-US" sz="800" dirty="0">
              <a:solidFill>
                <a:schemeClr val="tx1"/>
              </a:solidFill>
            </a:endParaRPr>
          </a:p>
        </p:txBody>
      </p:sp>
      <p:pic>
        <p:nvPicPr>
          <p:cNvPr id="81" name="Graphic 15" descr="Bullseye outline">
            <a:extLst>
              <a:ext uri="{FF2B5EF4-FFF2-40B4-BE49-F238E27FC236}">
                <a16:creationId xmlns:a16="http://schemas.microsoft.com/office/drawing/2014/main" id="{5DCA15E4-2034-4EDB-48B3-82663DCEEC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09695" y="722694"/>
            <a:ext cx="216000" cy="216000"/>
          </a:xfrm>
          <a:prstGeom prst="rect">
            <a:avLst/>
          </a:prstGeom>
        </p:spPr>
      </p:pic>
      <p:pic>
        <p:nvPicPr>
          <p:cNvPr id="82" name="Grafik 128" descr="Fragezeichen Silhouette">
            <a:extLst>
              <a:ext uri="{FF2B5EF4-FFF2-40B4-BE49-F238E27FC236}">
                <a16:creationId xmlns:a16="http://schemas.microsoft.com/office/drawing/2014/main" id="{8EC9FA75-C12D-3329-7307-3F7216FDAC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8254" y="722694"/>
            <a:ext cx="216000" cy="216000"/>
          </a:xfrm>
          <a:prstGeom prst="rect">
            <a:avLst/>
          </a:prstGeom>
        </p:spPr>
      </p:pic>
      <p:pic>
        <p:nvPicPr>
          <p:cNvPr id="83" name="Grafik 130" descr="Benutzer Silhouette">
            <a:extLst>
              <a:ext uri="{FF2B5EF4-FFF2-40B4-BE49-F238E27FC236}">
                <a16:creationId xmlns:a16="http://schemas.microsoft.com/office/drawing/2014/main" id="{6129144C-E767-F0AE-6959-1BCE8D58A59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67840" y="722694"/>
            <a:ext cx="216000" cy="216000"/>
          </a:xfrm>
          <a:prstGeom prst="rect">
            <a:avLst/>
          </a:prstGeom>
        </p:spPr>
      </p:pic>
      <p:sp>
        <p:nvSpPr>
          <p:cNvPr id="84" name="Rechteck: abgerundete Ecken 1">
            <a:extLst>
              <a:ext uri="{FF2B5EF4-FFF2-40B4-BE49-F238E27FC236}">
                <a16:creationId xmlns:a16="http://schemas.microsoft.com/office/drawing/2014/main" id="{4F11ABDB-3802-4460-EE10-609F213B5A78}"/>
              </a:ext>
            </a:extLst>
          </p:cNvPr>
          <p:cNvSpPr/>
          <p:nvPr userDrawn="1"/>
        </p:nvSpPr>
        <p:spPr>
          <a:xfrm>
            <a:off x="5109119" y="2115289"/>
            <a:ext cx="1994400" cy="1178246"/>
          </a:xfrm>
          <a:prstGeom prst="roundRect">
            <a:avLst>
              <a:gd name="adj" fmla="val 336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000" b="1">
                <a:solidFill>
                  <a:schemeClr val="tx1"/>
                </a:solidFill>
              </a:rPr>
              <a:t>Value</a:t>
            </a:r>
            <a:endParaRPr lang="en-US" sz="8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Quality</a:t>
            </a:r>
            <a:endParaRPr lang="en-US">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Time</a:t>
            </a:r>
            <a:endParaRPr lang="en-US" sz="20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Cost</a:t>
            </a:r>
            <a:endParaRPr lang="en-US" sz="900" dirty="0" err="1">
              <a:solidFill>
                <a:schemeClr val="tx1"/>
              </a:solidFill>
              <a:cs typeface="Arial"/>
            </a:endParaRPr>
          </a:p>
        </p:txBody>
      </p:sp>
      <p:pic>
        <p:nvPicPr>
          <p:cNvPr id="85" name="Grafik 93" descr="Offene Hand mit Pflanze Silhouette">
            <a:extLst>
              <a:ext uri="{FF2B5EF4-FFF2-40B4-BE49-F238E27FC236}">
                <a16:creationId xmlns:a16="http://schemas.microsoft.com/office/drawing/2014/main" id="{E833394F-FF7E-F1F6-E186-BE583BEE50D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56879" y="2146153"/>
            <a:ext cx="216000" cy="216000"/>
          </a:xfrm>
          <a:prstGeom prst="rect">
            <a:avLst/>
          </a:prstGeom>
        </p:spPr>
      </p:pic>
      <p:sp>
        <p:nvSpPr>
          <p:cNvPr id="86" name="Rechteck: abgerundete Ecken 29">
            <a:extLst>
              <a:ext uri="{FF2B5EF4-FFF2-40B4-BE49-F238E27FC236}">
                <a16:creationId xmlns:a16="http://schemas.microsoft.com/office/drawing/2014/main" id="{BD5B1968-C3B1-FC49-EB75-CF8A5502A166}"/>
              </a:ext>
            </a:extLst>
          </p:cNvPr>
          <p:cNvSpPr/>
          <p:nvPr userDrawn="1"/>
        </p:nvSpPr>
        <p:spPr>
          <a:xfrm>
            <a:off x="23210" y="2115289"/>
            <a:ext cx="5061494" cy="2757278"/>
          </a:xfrm>
          <a:prstGeom prst="roundRect">
            <a:avLst>
              <a:gd name="adj" fmla="val 132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100" b="1">
                <a:solidFill>
                  <a:schemeClr val="tx1"/>
                </a:solidFill>
              </a:rPr>
              <a:t>User Stories</a:t>
            </a:r>
            <a:endParaRPr lang="en-US" sz="1000" b="1" dirty="0">
              <a:solidFill>
                <a:schemeClr val="tx1"/>
              </a:solidFill>
            </a:endParaRPr>
          </a:p>
        </p:txBody>
      </p:sp>
      <p:pic>
        <p:nvPicPr>
          <p:cNvPr id="87" name="Grafik 31" descr="Geschichten erzählen Silhouette">
            <a:extLst>
              <a:ext uri="{FF2B5EF4-FFF2-40B4-BE49-F238E27FC236}">
                <a16:creationId xmlns:a16="http://schemas.microsoft.com/office/drawing/2014/main" id="{2C16A36B-537A-D6ED-1B9A-3FFA6C19302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8254" y="2146153"/>
            <a:ext cx="216000" cy="216000"/>
          </a:xfrm>
          <a:prstGeom prst="rect">
            <a:avLst/>
          </a:prstGeom>
        </p:spPr>
      </p:pic>
      <p:sp>
        <p:nvSpPr>
          <p:cNvPr id="88" name="Rechteck: abgerundete Ecken 86">
            <a:extLst>
              <a:ext uri="{FF2B5EF4-FFF2-40B4-BE49-F238E27FC236}">
                <a16:creationId xmlns:a16="http://schemas.microsoft.com/office/drawing/2014/main" id="{8B0078B0-4D79-1501-BC86-F4BEF3E5B443}"/>
              </a:ext>
            </a:extLst>
          </p:cNvPr>
          <p:cNvSpPr/>
          <p:nvPr userDrawn="1"/>
        </p:nvSpPr>
        <p:spPr>
          <a:xfrm>
            <a:off x="7132449" y="2115289"/>
            <a:ext cx="1994400" cy="1174193"/>
          </a:xfrm>
          <a:prstGeom prst="roundRect">
            <a:avLst>
              <a:gd name="adj" fmla="val 3373"/>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r>
              <a:rPr lang="en-US" sz="1000" b="1">
                <a:solidFill>
                  <a:schemeClr val="tx1"/>
                </a:solidFill>
              </a:rPr>
              <a:t>Effort</a:t>
            </a:r>
            <a:endParaRPr lang="en-US" sz="800">
              <a:solidFill>
                <a:schemeClr val="tx1"/>
              </a:solidFill>
            </a:endParaRPr>
          </a:p>
          <a:p>
            <a:pPr>
              <a:lnSpc>
                <a:spcPct val="114000"/>
              </a:lnSpc>
            </a:pPr>
            <a:endParaRPr lang="en-US" sz="800">
              <a:solidFill>
                <a:schemeClr val="tx1"/>
              </a:solidFill>
            </a:endParaRPr>
          </a:p>
          <a:p>
            <a:pPr>
              <a:lnSpc>
                <a:spcPct val="113999"/>
              </a:lnSpc>
            </a:pPr>
            <a:r>
              <a:rPr lang="en-US" sz="900">
                <a:solidFill>
                  <a:schemeClr val="tx1"/>
                </a:solidFill>
              </a:rPr>
              <a:t>Simulation</a:t>
            </a:r>
            <a:endParaRPr lang="en-US" sz="800">
              <a:solidFill>
                <a:schemeClr val="tx1"/>
              </a:solidFill>
            </a:endParaRPr>
          </a:p>
          <a:p>
            <a:pPr>
              <a:lnSpc>
                <a:spcPct val="114000"/>
              </a:lnSpc>
            </a:pPr>
            <a:endParaRPr lang="en-US" sz="800">
              <a:solidFill>
                <a:schemeClr val="tx1"/>
              </a:solidFill>
            </a:endParaRPr>
          </a:p>
          <a:p>
            <a:pPr>
              <a:lnSpc>
                <a:spcPct val="114000"/>
              </a:lnSpc>
            </a:pPr>
            <a:r>
              <a:rPr lang="en-US" sz="900">
                <a:solidFill>
                  <a:schemeClr val="tx1"/>
                </a:solidFill>
              </a:rPr>
              <a:t>Use Phase Data</a:t>
            </a:r>
          </a:p>
          <a:p>
            <a:pPr>
              <a:lnSpc>
                <a:spcPct val="114000"/>
              </a:lnSpc>
            </a:pPr>
            <a:r>
              <a:rPr lang="en-US" sz="900">
                <a:solidFill>
                  <a:schemeClr val="tx1"/>
                </a:solidFill>
              </a:rPr>
              <a:t>  </a:t>
            </a:r>
            <a:endParaRPr lang="en-US" sz="800">
              <a:solidFill>
                <a:schemeClr val="tx1"/>
              </a:solidFill>
            </a:endParaRPr>
          </a:p>
          <a:p>
            <a:pPr>
              <a:lnSpc>
                <a:spcPct val="113999"/>
              </a:lnSpc>
            </a:pPr>
            <a:r>
              <a:rPr lang="en-US" sz="900">
                <a:solidFill>
                  <a:schemeClr val="tx1"/>
                </a:solidFill>
              </a:rPr>
              <a:t>Network</a:t>
            </a:r>
            <a:endParaRPr lang="en-US" dirty="0">
              <a:solidFill>
                <a:schemeClr val="tx1"/>
              </a:solidFill>
              <a:cs typeface="Arial"/>
            </a:endParaRPr>
          </a:p>
        </p:txBody>
      </p:sp>
      <p:pic>
        <p:nvPicPr>
          <p:cNvPr id="89" name="Grafik 91" descr="Stoppuhr 75% Silhouette">
            <a:extLst>
              <a:ext uri="{FF2B5EF4-FFF2-40B4-BE49-F238E27FC236}">
                <a16:creationId xmlns:a16="http://schemas.microsoft.com/office/drawing/2014/main" id="{760B767B-6006-4547-FA98-16CC1200D06F}"/>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67840" y="2146153"/>
            <a:ext cx="216000" cy="216000"/>
          </a:xfrm>
          <a:prstGeom prst="rect">
            <a:avLst/>
          </a:prstGeom>
        </p:spPr>
      </p:pic>
      <p:sp>
        <p:nvSpPr>
          <p:cNvPr id="131" name="Text Placeholder 130">
            <a:extLst>
              <a:ext uri="{FF2B5EF4-FFF2-40B4-BE49-F238E27FC236}">
                <a16:creationId xmlns:a16="http://schemas.microsoft.com/office/drawing/2014/main" id="{81968B88-B87A-F46F-C16C-B49EFD14C11F}"/>
              </a:ext>
            </a:extLst>
          </p:cNvPr>
          <p:cNvSpPr>
            <a:spLocks noGrp="1"/>
          </p:cNvSpPr>
          <p:nvPr>
            <p:ph type="body" sz="quarter" idx="10" hasCustomPrompt="1"/>
          </p:nvPr>
        </p:nvSpPr>
        <p:spPr>
          <a:xfrm>
            <a:off x="58490" y="939272"/>
            <a:ext cx="3457575"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Y? – Short description of the Use Case problem situation. It should be made clear, why the Use Case is considered. Ennumerate the existing issues and from where they result. Multiple problems can lead to the same main issue&gt;</a:t>
            </a:r>
            <a:endParaRPr lang="en-US" sz="900" dirty="0">
              <a:solidFill>
                <a:schemeClr val="tx1"/>
              </a:solidFill>
            </a:endParaRPr>
          </a:p>
        </p:txBody>
      </p:sp>
      <p:sp>
        <p:nvSpPr>
          <p:cNvPr id="132" name="Text Placeholder 130">
            <a:extLst>
              <a:ext uri="{FF2B5EF4-FFF2-40B4-BE49-F238E27FC236}">
                <a16:creationId xmlns:a16="http://schemas.microsoft.com/office/drawing/2014/main" id="{962674AC-6098-7B1E-595E-3315DD83A840}"/>
              </a:ext>
            </a:extLst>
          </p:cNvPr>
          <p:cNvSpPr>
            <a:spLocks noGrp="1"/>
          </p:cNvSpPr>
          <p:nvPr>
            <p:ph type="body" sz="quarter" idx="11" hasCustomPrompt="1"/>
          </p:nvPr>
        </p:nvSpPr>
        <p:spPr>
          <a:xfrm>
            <a:off x="3615211" y="939272"/>
            <a:ext cx="3457575"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AT? – Short description of the use case goal. What do I want as a Stakeholder? Which goals result from the problem description?&gt;</a:t>
            </a:r>
            <a:endParaRPr lang="en-US" sz="900" dirty="0">
              <a:solidFill>
                <a:schemeClr val="tx1"/>
              </a:solidFill>
            </a:endParaRPr>
          </a:p>
        </p:txBody>
      </p:sp>
      <p:sp>
        <p:nvSpPr>
          <p:cNvPr id="134" name="Text Placeholder 130">
            <a:extLst>
              <a:ext uri="{FF2B5EF4-FFF2-40B4-BE49-F238E27FC236}">
                <a16:creationId xmlns:a16="http://schemas.microsoft.com/office/drawing/2014/main" id="{4692B13A-6F81-32A4-CF60-45B6EA31E04C}"/>
              </a:ext>
            </a:extLst>
          </p:cNvPr>
          <p:cNvSpPr>
            <a:spLocks noGrp="1"/>
          </p:cNvSpPr>
          <p:nvPr>
            <p:ph type="body" sz="quarter" idx="12" hasCustomPrompt="1"/>
          </p:nvPr>
        </p:nvSpPr>
        <p:spPr>
          <a:xfrm>
            <a:off x="7164767" y="939272"/>
            <a:ext cx="1927906" cy="1114425"/>
          </a:xfrm>
          <a:prstGeom prst="rect">
            <a:avLst/>
          </a:prstGeom>
        </p:spPr>
        <p:txBody>
          <a:bodyPr>
            <a:normAutofit/>
          </a:bodyPr>
          <a:lstStyle>
            <a:lvl1pP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O? – List of relevant stakeholders to include. Mark the stakeholders, that suggested the use case&gt;</a:t>
            </a:r>
            <a:endParaRPr lang="en-US" sz="900" dirty="0">
              <a:solidFill>
                <a:schemeClr val="tx1"/>
              </a:solidFill>
            </a:endParaRPr>
          </a:p>
        </p:txBody>
      </p:sp>
      <p:sp>
        <p:nvSpPr>
          <p:cNvPr id="135" name="Text Placeholder 130">
            <a:extLst>
              <a:ext uri="{FF2B5EF4-FFF2-40B4-BE49-F238E27FC236}">
                <a16:creationId xmlns:a16="http://schemas.microsoft.com/office/drawing/2014/main" id="{64D79746-5E2C-F9C7-77DA-C1105CA051C2}"/>
              </a:ext>
            </a:extLst>
          </p:cNvPr>
          <p:cNvSpPr>
            <a:spLocks noGrp="1"/>
          </p:cNvSpPr>
          <p:nvPr>
            <p:ph type="body" sz="quarter" idx="13" hasCustomPrompt="1"/>
          </p:nvPr>
        </p:nvSpPr>
        <p:spPr>
          <a:xfrm>
            <a:off x="47625" y="2362153"/>
            <a:ext cx="5007556" cy="2476547"/>
          </a:xfrm>
          <a:prstGeom prst="rect">
            <a:avLst/>
          </a:prstGeom>
        </p:spPr>
        <p:txBody>
          <a:bodyPr>
            <a:normAutofit/>
          </a:bodyPr>
          <a:lstStyle>
            <a:lvl1pPr marL="171450" indent="-171450">
              <a:buFont typeface="Arial" panose="020B0604020202020204" pitchFamily="34" charset="0"/>
              <a:buChar char="•"/>
              <a:defRPr sz="800"/>
            </a:lvl1pPr>
            <a:lvl2pPr>
              <a:defRPr sz="900"/>
            </a:lvl2pPr>
            <a:lvl3pPr>
              <a:defRPr sz="900"/>
            </a:lvl3pPr>
            <a:lvl4pPr>
              <a:defRPr sz="900"/>
            </a:lvl4pPr>
            <a:lvl5pPr>
              <a:defRPr sz="900"/>
            </a:lvl5pPr>
          </a:lstStyle>
          <a:p>
            <a:pPr>
              <a:lnSpc>
                <a:spcPct val="114000"/>
              </a:lnSpc>
            </a:pPr>
            <a:r>
              <a:rPr lang="en-US" sz="900">
                <a:solidFill>
                  <a:schemeClr val="tx1"/>
                </a:solidFill>
              </a:rPr>
              <a:t>&lt;WHAT? Describe the user stories, this use case is going to fulfill&gt;</a:t>
            </a:r>
          </a:p>
          <a:p>
            <a:pPr>
              <a:lnSpc>
                <a:spcPct val="114000"/>
              </a:lnSpc>
            </a:pPr>
            <a:endParaRPr lang="en-US" sz="900">
              <a:solidFill>
                <a:schemeClr val="tx1"/>
              </a:solidFill>
            </a:endParaRPr>
          </a:p>
          <a:p>
            <a:pPr>
              <a:lnSpc>
                <a:spcPct val="114000"/>
              </a:lnSpc>
            </a:pPr>
            <a:r>
              <a:rPr lang="en-US" sz="900">
                <a:solidFill>
                  <a:schemeClr val="tx1"/>
                </a:solidFill>
              </a:rPr>
              <a:t>As a &lt;stakeholder&gt;, I would like &lt;the element of the DT&gt; to &lt;activity&gt;, so that &lt;expected benefit&gt;.</a:t>
            </a:r>
          </a:p>
          <a:p>
            <a:pPr>
              <a:lnSpc>
                <a:spcPct val="114000"/>
              </a:lnSpc>
            </a:pPr>
            <a:endParaRPr lang="en-US" sz="900">
              <a:solidFill>
                <a:schemeClr val="tx1"/>
              </a:solidFill>
            </a:endParaRPr>
          </a:p>
          <a:p>
            <a:pPr>
              <a:lnSpc>
                <a:spcPct val="114000"/>
              </a:lnSpc>
            </a:pPr>
            <a:r>
              <a:rPr lang="en-US" sz="900">
                <a:solidFill>
                  <a:schemeClr val="tx1"/>
                </a:solidFill>
              </a:rPr>
              <a:t>As </a:t>
            </a:r>
            <a:r>
              <a:rPr lang="en-US" sz="900" dirty="0">
                <a:solidFill>
                  <a:schemeClr val="tx1"/>
                </a:solidFill>
              </a:rPr>
              <a:t>a plant operator, I would like the system to automatically and quickly detect a case of damage in the plant (e.g. clogging of a pipe), so that a timely and appropriate response to the case of damage can be made.</a:t>
            </a:r>
          </a:p>
          <a:p>
            <a:pPr>
              <a:lnSpc>
                <a:spcPct val="114000"/>
              </a:lnSpc>
            </a:pPr>
            <a:endParaRPr lang="en-US" sz="900" dirty="0">
              <a:solidFill>
                <a:schemeClr val="tx1"/>
              </a:solidFill>
            </a:endParaRPr>
          </a:p>
        </p:txBody>
      </p:sp>
      <p:sp>
        <p:nvSpPr>
          <p:cNvPr id="137" name="Text Placeholder 136">
            <a:extLst>
              <a:ext uri="{FF2B5EF4-FFF2-40B4-BE49-F238E27FC236}">
                <a16:creationId xmlns:a16="http://schemas.microsoft.com/office/drawing/2014/main" id="{B14CCF13-51DA-8080-F776-DB89F331B563}"/>
              </a:ext>
            </a:extLst>
          </p:cNvPr>
          <p:cNvSpPr>
            <a:spLocks noGrp="1"/>
          </p:cNvSpPr>
          <p:nvPr>
            <p:ph type="body" sz="quarter" idx="14" hasCustomPrompt="1"/>
          </p:nvPr>
        </p:nvSpPr>
        <p:spPr>
          <a:xfrm>
            <a:off x="431800" y="387966"/>
            <a:ext cx="8666163" cy="269260"/>
          </a:xfrm>
          <a:prstGeom prst="rect">
            <a:avLst/>
          </a:prstGeom>
        </p:spPr>
        <p:txBody>
          <a:bodyPr anchor="ctr">
            <a:normAutofit/>
          </a:bodyPr>
          <a:lstStyle>
            <a:lvl1pPr algn="ctr">
              <a:defRPr sz="1000" b="1"/>
            </a:lvl1pPr>
          </a:lstStyle>
          <a:p>
            <a:pPr lvl="0"/>
            <a:r>
              <a:rPr lang="en-US" sz="1400" dirty="0">
                <a:solidFill>
                  <a:schemeClr val="tx1"/>
                </a:solidFill>
              </a:rPr>
              <a:t>&lt;Concise Title&gt; </a:t>
            </a:r>
            <a:endParaRPr lang="en-US" dirty="0"/>
          </a:p>
        </p:txBody>
      </p:sp>
      <p:sp>
        <p:nvSpPr>
          <p:cNvPr id="139" name="Content Placeholder 138">
            <a:extLst>
              <a:ext uri="{FF2B5EF4-FFF2-40B4-BE49-F238E27FC236}">
                <a16:creationId xmlns:a16="http://schemas.microsoft.com/office/drawing/2014/main" id="{256B5BC8-49C1-39F1-7826-693D3DE7AC39}"/>
              </a:ext>
            </a:extLst>
          </p:cNvPr>
          <p:cNvSpPr>
            <a:spLocks noGrp="1"/>
          </p:cNvSpPr>
          <p:nvPr>
            <p:ph sz="quarter" idx="15" hasCustomPrompt="1"/>
          </p:nvPr>
        </p:nvSpPr>
        <p:spPr>
          <a:xfrm>
            <a:off x="5138738" y="4756150"/>
            <a:ext cx="1935163" cy="32226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software and tools are used or are needed for the use case?&gt;</a:t>
            </a:r>
            <a:endParaRPr lang="en-US" dirty="0"/>
          </a:p>
        </p:txBody>
      </p:sp>
      <p:sp>
        <p:nvSpPr>
          <p:cNvPr id="140" name="Content Placeholder 138">
            <a:extLst>
              <a:ext uri="{FF2B5EF4-FFF2-40B4-BE49-F238E27FC236}">
                <a16:creationId xmlns:a16="http://schemas.microsoft.com/office/drawing/2014/main" id="{C08ADABF-4D85-5998-9953-D83BFFC13928}"/>
              </a:ext>
            </a:extLst>
          </p:cNvPr>
          <p:cNvSpPr>
            <a:spLocks noGrp="1"/>
          </p:cNvSpPr>
          <p:nvPr>
            <p:ph sz="quarter" idx="16" hasCustomPrompt="1"/>
          </p:nvPr>
        </p:nvSpPr>
        <p:spPr>
          <a:xfrm>
            <a:off x="5138738" y="4177782"/>
            <a:ext cx="1935163" cy="32754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processes are affected by the use case?&gt;</a:t>
            </a:r>
            <a:endParaRPr lang="en-US" dirty="0"/>
          </a:p>
        </p:txBody>
      </p:sp>
      <p:sp>
        <p:nvSpPr>
          <p:cNvPr id="141" name="Content Placeholder 138">
            <a:extLst>
              <a:ext uri="{FF2B5EF4-FFF2-40B4-BE49-F238E27FC236}">
                <a16:creationId xmlns:a16="http://schemas.microsoft.com/office/drawing/2014/main" id="{2ACBCB12-6539-E9CF-2198-16E4C6FABDBA}"/>
              </a:ext>
            </a:extLst>
          </p:cNvPr>
          <p:cNvSpPr>
            <a:spLocks noGrp="1"/>
          </p:cNvSpPr>
          <p:nvPr>
            <p:ph sz="quarter" idx="17" hasCustomPrompt="1"/>
          </p:nvPr>
        </p:nvSpPr>
        <p:spPr>
          <a:xfrm>
            <a:off x="5137623" y="3538802"/>
            <a:ext cx="1935163" cy="376893"/>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a:solidFill>
                  <a:schemeClr val="tx1"/>
                </a:solidFill>
              </a:rPr>
              <a:t>&lt;Which products are affected by the use case?&gt;</a:t>
            </a:r>
            <a:endParaRPr lang="en-US" dirty="0"/>
          </a:p>
        </p:txBody>
      </p:sp>
      <p:sp>
        <p:nvSpPr>
          <p:cNvPr id="142" name="Content Placeholder 138">
            <a:extLst>
              <a:ext uri="{FF2B5EF4-FFF2-40B4-BE49-F238E27FC236}">
                <a16:creationId xmlns:a16="http://schemas.microsoft.com/office/drawing/2014/main" id="{94277159-B185-E8AD-C2DE-B7B00A2332A3}"/>
              </a:ext>
            </a:extLst>
          </p:cNvPr>
          <p:cNvSpPr>
            <a:spLocks noGrp="1"/>
          </p:cNvSpPr>
          <p:nvPr>
            <p:ph sz="quarter" idx="18" hasCustomPrompt="1"/>
          </p:nvPr>
        </p:nvSpPr>
        <p:spPr>
          <a:xfrm>
            <a:off x="7165697" y="3531188"/>
            <a:ext cx="1927906" cy="646594"/>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dirty="0">
                <a:solidFill>
                  <a:schemeClr val="tx1"/>
                </a:solidFill>
              </a:rPr>
              <a:t>&lt;Which (use phase) data is needed for the use case?&gt;</a:t>
            </a:r>
            <a:endParaRPr lang="en-US" dirty="0"/>
          </a:p>
        </p:txBody>
      </p:sp>
      <p:sp>
        <p:nvSpPr>
          <p:cNvPr id="143" name="Content Placeholder 138">
            <a:extLst>
              <a:ext uri="{FF2B5EF4-FFF2-40B4-BE49-F238E27FC236}">
                <a16:creationId xmlns:a16="http://schemas.microsoft.com/office/drawing/2014/main" id="{5B53BEDB-8B6A-365E-AAF5-62B2158925FD}"/>
              </a:ext>
            </a:extLst>
          </p:cNvPr>
          <p:cNvSpPr>
            <a:spLocks noGrp="1"/>
          </p:cNvSpPr>
          <p:nvPr>
            <p:ph sz="quarter" idx="19" hasCustomPrompt="1"/>
          </p:nvPr>
        </p:nvSpPr>
        <p:spPr>
          <a:xfrm>
            <a:off x="7164767" y="4452665"/>
            <a:ext cx="1927906" cy="646594"/>
          </a:xfrm>
          <a:prstGeom prst="rect">
            <a:avLst/>
          </a:prstGeom>
        </p:spPr>
        <p:txBody>
          <a:bodyPr>
            <a:normAutofit/>
          </a:bodyPr>
          <a:lstStyle>
            <a:lvl1pPr>
              <a:defRPr sz="800"/>
            </a:lvl1pPr>
            <a:lvl2pPr>
              <a:defRPr sz="800"/>
            </a:lvl2pPr>
            <a:lvl3pPr>
              <a:defRPr sz="800"/>
            </a:lvl3pPr>
            <a:lvl4pPr>
              <a:defRPr sz="800"/>
            </a:lvl4pPr>
            <a:lvl5pPr>
              <a:defRPr sz="800"/>
            </a:lvl5pPr>
          </a:lstStyle>
          <a:p>
            <a:pPr lvl="0"/>
            <a:r>
              <a:rPr lang="en-US" sz="800" dirty="0">
                <a:solidFill>
                  <a:schemeClr val="tx1"/>
                </a:solidFill>
              </a:rPr>
              <a:t>&lt;Where does the (use phase) data come from?&gt;</a:t>
            </a:r>
            <a:endParaRPr lang="en-US" dirty="0"/>
          </a:p>
        </p:txBody>
      </p:sp>
      <p:sp>
        <p:nvSpPr>
          <p:cNvPr id="156" name="Action Button: Go Home 155">
            <a:hlinkClick r:id="" action="ppaction://hlinkshowjump?jump=firstslide" highlightClick="1"/>
            <a:extLst>
              <a:ext uri="{FF2B5EF4-FFF2-40B4-BE49-F238E27FC236}">
                <a16:creationId xmlns:a16="http://schemas.microsoft.com/office/drawing/2014/main" id="{71E222B5-1D24-85BC-AB1B-370CA2BC948E}"/>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57" name="Action Button: Go Back or Previous 156">
            <a:hlinkClick r:id="" action="ppaction://hlinkshowjump?jump=lastslideviewed" highlightClick="1"/>
            <a:extLst>
              <a:ext uri="{FF2B5EF4-FFF2-40B4-BE49-F238E27FC236}">
                <a16:creationId xmlns:a16="http://schemas.microsoft.com/office/drawing/2014/main" id="{AF2B62C4-C39B-EBAF-1D68-9AFC50E3EB48}"/>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8" name="Action Button: Go Forward or Next 157">
            <a:hlinkClick r:id="" action="ppaction://hlinkshowjump?jump=nextslide" highlightClick="1"/>
            <a:extLst>
              <a:ext uri="{FF2B5EF4-FFF2-40B4-BE49-F238E27FC236}">
                <a16:creationId xmlns:a16="http://schemas.microsoft.com/office/drawing/2014/main" id="{8A32CB5C-7866-92B7-48E3-0609CE90CD75}"/>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9" name="Title 158">
            <a:extLst>
              <a:ext uri="{FF2B5EF4-FFF2-40B4-BE49-F238E27FC236}">
                <a16:creationId xmlns:a16="http://schemas.microsoft.com/office/drawing/2014/main" id="{F37AB438-DF21-4249-2FE5-5658081C143E}"/>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Tree>
    <p:extLst>
      <p:ext uri="{BB962C8B-B14F-4D97-AF65-F5344CB8AC3E}">
        <p14:creationId xmlns:p14="http://schemas.microsoft.com/office/powerpoint/2010/main" val="237074626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s-is_process">
    <p:spTree>
      <p:nvGrpSpPr>
        <p:cNvPr id="1" name=""/>
        <p:cNvGrpSpPr/>
        <p:nvPr/>
      </p:nvGrpSpPr>
      <p:grpSpPr>
        <a:xfrm>
          <a:off x="0" y="0"/>
          <a:ext cx="0" cy="0"/>
          <a:chOff x="0" y="0"/>
          <a:chExt cx="0" cy="0"/>
        </a:xfrm>
      </p:grpSpPr>
      <p:sp>
        <p:nvSpPr>
          <p:cNvPr id="73" name="Rechteck: obere Ecken, eine abgerundet, eine abgeschnitten 5">
            <a:extLst>
              <a:ext uri="{FF2B5EF4-FFF2-40B4-BE49-F238E27FC236}">
                <a16:creationId xmlns:a16="http://schemas.microsoft.com/office/drawing/2014/main" id="{090E5FC1-601F-2661-011B-519CBB6C7657}"/>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2" name="Rechteck 7">
            <a:extLst>
              <a:ext uri="{FF2B5EF4-FFF2-40B4-BE49-F238E27FC236}">
                <a16:creationId xmlns:a16="http://schemas.microsoft.com/office/drawing/2014/main" id="{83E4DCBF-C8BE-39FC-0809-01F1CB8E1707}"/>
              </a:ext>
            </a:extLst>
          </p:cNvPr>
          <p:cNvSpPr/>
          <p:nvPr userDrawn="1"/>
        </p:nvSpPr>
        <p:spPr>
          <a:xfrm>
            <a:off x="303657" y="0"/>
            <a:ext cx="1432008"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HOW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is the process executed currently?</a:t>
            </a:r>
          </a:p>
        </p:txBody>
      </p:sp>
      <p:pic>
        <p:nvPicPr>
          <p:cNvPr id="4" name="Graphic 3" descr="Map with pin outline">
            <a:extLst>
              <a:ext uri="{FF2B5EF4-FFF2-40B4-BE49-F238E27FC236}">
                <a16:creationId xmlns:a16="http://schemas.microsoft.com/office/drawing/2014/main" id="{45C246F7-5A5C-A710-E678-5120A3A724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568" y="56055"/>
            <a:ext cx="288000" cy="288000"/>
          </a:xfrm>
          <a:prstGeom prst="rect">
            <a:avLst/>
          </a:prstGeom>
        </p:spPr>
      </p:pic>
      <p:sp>
        <p:nvSpPr>
          <p:cNvPr id="10" name="Content Placeholder 9">
            <a:extLst>
              <a:ext uri="{FF2B5EF4-FFF2-40B4-BE49-F238E27FC236}">
                <a16:creationId xmlns:a16="http://schemas.microsoft.com/office/drawing/2014/main" id="{9BF762B2-4794-C4D2-4EA7-CDF81CF32A8F}"/>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
        <p:nvSpPr>
          <p:cNvPr id="74" name="Action Button: Go Home 73">
            <a:hlinkClick r:id="" action="ppaction://hlinkshowjump?jump=firstslide" highlightClick="1"/>
            <a:extLst>
              <a:ext uri="{FF2B5EF4-FFF2-40B4-BE49-F238E27FC236}">
                <a16:creationId xmlns:a16="http://schemas.microsoft.com/office/drawing/2014/main" id="{F69C9431-72B9-FE81-49F4-9C586DB448CB}"/>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75" name="Action Button: Go Back or Previous 74">
            <a:hlinkClick r:id="" action="ppaction://hlinkshowjump?jump=lastslideviewed" highlightClick="1"/>
            <a:extLst>
              <a:ext uri="{FF2B5EF4-FFF2-40B4-BE49-F238E27FC236}">
                <a16:creationId xmlns:a16="http://schemas.microsoft.com/office/drawing/2014/main" id="{35456B92-6F8F-DF11-3776-74806D62CF84}"/>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6" name="Action Button: Go Forward or Next 75">
            <a:hlinkClick r:id="" action="ppaction://hlinkshowjump?jump=nextslide" highlightClick="1"/>
            <a:extLst>
              <a:ext uri="{FF2B5EF4-FFF2-40B4-BE49-F238E27FC236}">
                <a16:creationId xmlns:a16="http://schemas.microsoft.com/office/drawing/2014/main" id="{5D87B7F6-D85C-9086-A689-2D91FFF09E37}"/>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78" name="Title 158">
            <a:extLst>
              <a:ext uri="{FF2B5EF4-FFF2-40B4-BE49-F238E27FC236}">
                <a16:creationId xmlns:a16="http://schemas.microsoft.com/office/drawing/2014/main" id="{F61C4C8F-5A51-8398-504B-B57B89E688F0}"/>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Tree>
    <p:extLst>
      <p:ext uri="{BB962C8B-B14F-4D97-AF65-F5344CB8AC3E}">
        <p14:creationId xmlns:p14="http://schemas.microsoft.com/office/powerpoint/2010/main" val="415108600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s-is_process-environment">
    <p:spTree>
      <p:nvGrpSpPr>
        <p:cNvPr id="1" name=""/>
        <p:cNvGrpSpPr/>
        <p:nvPr/>
      </p:nvGrpSpPr>
      <p:grpSpPr>
        <a:xfrm>
          <a:off x="0" y="0"/>
          <a:ext cx="0" cy="0"/>
          <a:chOff x="0" y="0"/>
          <a:chExt cx="0" cy="0"/>
        </a:xfrm>
      </p:grpSpPr>
      <p:sp>
        <p:nvSpPr>
          <p:cNvPr id="12" name="Rechteck: obere Ecken, eine abgerundet, eine abgeschnitten 5">
            <a:extLst>
              <a:ext uri="{FF2B5EF4-FFF2-40B4-BE49-F238E27FC236}">
                <a16:creationId xmlns:a16="http://schemas.microsoft.com/office/drawing/2014/main" id="{6E9E8DC7-EC2B-2A1F-4EFC-05F51F84EB93}"/>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2" name="Rechteck 7">
            <a:extLst>
              <a:ext uri="{FF2B5EF4-FFF2-40B4-BE49-F238E27FC236}">
                <a16:creationId xmlns:a16="http://schemas.microsoft.com/office/drawing/2014/main" id="{327F74CA-3A14-0BEE-3A0D-257D5B12E97F}"/>
              </a:ext>
            </a:extLst>
          </p:cNvPr>
          <p:cNvSpPr/>
          <p:nvPr userDrawn="1"/>
        </p:nvSpPr>
        <p:spPr>
          <a:xfrm>
            <a:off x="266010" y="0"/>
            <a:ext cx="1528924" cy="400110"/>
          </a:xfrm>
          <a:prstGeom prst="rect">
            <a:avLst/>
          </a:prstGeom>
        </p:spPr>
        <p:txBody>
          <a:bodyPr wrap="square">
            <a:spAutoFit/>
          </a:bodyPr>
          <a:lstStyle/>
          <a:p>
            <a:pPr marL="0" marR="0" lvl="0" indent="0" algn="l" defTabSz="1023614"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HOW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does the process environment look like?</a:t>
            </a:r>
          </a:p>
        </p:txBody>
      </p:sp>
      <p:pic>
        <p:nvPicPr>
          <p:cNvPr id="9" name="Graphic 8" descr="Map with pin outline">
            <a:extLst>
              <a:ext uri="{FF2B5EF4-FFF2-40B4-BE49-F238E27FC236}">
                <a16:creationId xmlns:a16="http://schemas.microsoft.com/office/drawing/2014/main" id="{338018B7-3F11-3E19-28B8-7F2A0B2836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568" y="56055"/>
            <a:ext cx="288000" cy="288000"/>
          </a:xfrm>
          <a:prstGeom prst="rect">
            <a:avLst/>
          </a:prstGeom>
        </p:spPr>
      </p:pic>
      <p:sp>
        <p:nvSpPr>
          <p:cNvPr id="10" name="Content Placeholder 9">
            <a:extLst>
              <a:ext uri="{FF2B5EF4-FFF2-40B4-BE49-F238E27FC236}">
                <a16:creationId xmlns:a16="http://schemas.microsoft.com/office/drawing/2014/main" id="{95B2D7B3-A8E6-3F55-F7B7-EB2BCC666200}"/>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
        <p:nvSpPr>
          <p:cNvPr id="13" name="Action Button: Go Home 12">
            <a:hlinkClick r:id="" action="ppaction://hlinkshowjump?jump=firstslide" highlightClick="1"/>
            <a:extLst>
              <a:ext uri="{FF2B5EF4-FFF2-40B4-BE49-F238E27FC236}">
                <a16:creationId xmlns:a16="http://schemas.microsoft.com/office/drawing/2014/main" id="{4514C1A1-EE04-AEFD-B058-FB8A3F9C9633}"/>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4" name="Action Button: Go Back or Previous 13">
            <a:hlinkClick r:id="" action="ppaction://hlinkshowjump?jump=lastslideviewed" highlightClick="1"/>
            <a:extLst>
              <a:ext uri="{FF2B5EF4-FFF2-40B4-BE49-F238E27FC236}">
                <a16:creationId xmlns:a16="http://schemas.microsoft.com/office/drawing/2014/main" id="{A4EB1B9C-8BED-9963-B059-FA5D3AEC5A88}"/>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Action Button: Go Forward or Next 14">
            <a:hlinkClick r:id="" action="ppaction://hlinkshowjump?jump=nextslide" highlightClick="1"/>
            <a:extLst>
              <a:ext uri="{FF2B5EF4-FFF2-40B4-BE49-F238E27FC236}">
                <a16:creationId xmlns:a16="http://schemas.microsoft.com/office/drawing/2014/main" id="{BE31217C-66CD-551A-4564-8391CC86F0DA}"/>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7" name="Title 158">
            <a:extLst>
              <a:ext uri="{FF2B5EF4-FFF2-40B4-BE49-F238E27FC236}">
                <a16:creationId xmlns:a16="http://schemas.microsoft.com/office/drawing/2014/main" id="{C624877E-7B40-AC4F-684A-C3A14C2F4818}"/>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Tree>
    <p:extLst>
      <p:ext uri="{BB962C8B-B14F-4D97-AF65-F5344CB8AC3E}">
        <p14:creationId xmlns:p14="http://schemas.microsoft.com/office/powerpoint/2010/main" val="51457723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s-is_data-structure">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62A15F94-B42D-1EEB-35B0-454A596FC78B}"/>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4" name="Action Button: Go Home 13">
            <a:hlinkClick r:id="" action="ppaction://hlinkshowjump?jump=firstslide" highlightClick="1"/>
            <a:extLst>
              <a:ext uri="{FF2B5EF4-FFF2-40B4-BE49-F238E27FC236}">
                <a16:creationId xmlns:a16="http://schemas.microsoft.com/office/drawing/2014/main" id="{1078CAEF-1400-182A-333E-CD2FE817FB7A}"/>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5" name="Action Button: Go Back or Previous 14">
            <a:hlinkClick r:id="" action="ppaction://hlinkshowjump?jump=lastslideviewed" highlightClick="1"/>
            <a:extLst>
              <a:ext uri="{FF2B5EF4-FFF2-40B4-BE49-F238E27FC236}">
                <a16:creationId xmlns:a16="http://schemas.microsoft.com/office/drawing/2014/main" id="{F316AF2F-EC5B-D6C8-643D-9F81D0CEC7A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6" name="Action Button: Go Forward or Next 15">
            <a:hlinkClick r:id="" action="ppaction://hlinkshowjump?jump=nextslide" highlightClick="1"/>
            <a:extLst>
              <a:ext uri="{FF2B5EF4-FFF2-40B4-BE49-F238E27FC236}">
                <a16:creationId xmlns:a16="http://schemas.microsoft.com/office/drawing/2014/main" id="{D7077E52-696D-3786-48FC-7AB4345196CF}"/>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7" name="Title 158">
            <a:extLst>
              <a:ext uri="{FF2B5EF4-FFF2-40B4-BE49-F238E27FC236}">
                <a16:creationId xmlns:a16="http://schemas.microsoft.com/office/drawing/2014/main" id="{421B38EF-1948-845B-3622-7BC5DCD6213D}"/>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2" name="Rechteck 7">
            <a:extLst>
              <a:ext uri="{FF2B5EF4-FFF2-40B4-BE49-F238E27FC236}">
                <a16:creationId xmlns:a16="http://schemas.microsoft.com/office/drawing/2014/main" id="{AAFFC50E-FD9F-59A8-ED49-F3003E680152}"/>
              </a:ext>
            </a:extLst>
          </p:cNvPr>
          <p:cNvSpPr/>
          <p:nvPr userDrawn="1"/>
        </p:nvSpPr>
        <p:spPr>
          <a:xfrm>
            <a:off x="266010" y="0"/>
            <a:ext cx="1528924" cy="400110"/>
          </a:xfrm>
          <a:prstGeom prst="rect">
            <a:avLst/>
          </a:prstGeom>
        </p:spPr>
        <p:txBody>
          <a:bodyPr wrap="square">
            <a:spAutoFit/>
          </a:bodyPr>
          <a:lstStyle/>
          <a:p>
            <a:pPr marL="0" marR="0" lvl="0" indent="0" algn="l" defTabSz="76773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charset="0"/>
                <a:ea typeface="+mn-ea"/>
                <a:cs typeface="Arial" charset="0"/>
              </a:rPr>
              <a:t>HOW </a:t>
            </a:r>
            <a:r>
              <a:rPr kumimoji="0" lang="en-US" sz="1000" i="0" u="none" strike="noStrike" kern="1200" cap="none" spc="0" normalizeH="0" baseline="0" noProof="0" dirty="0">
                <a:ln>
                  <a:noFill/>
                </a:ln>
                <a:solidFill>
                  <a:schemeClr val="tx2"/>
                </a:solidFill>
                <a:effectLst/>
                <a:uLnTx/>
                <a:uFillTx/>
                <a:latin typeface="Arial" charset="0"/>
                <a:ea typeface="+mn-ea"/>
                <a:cs typeface="Arial" charset="0"/>
              </a:rPr>
              <a:t>are activities and tools connected?</a:t>
            </a:r>
          </a:p>
        </p:txBody>
      </p:sp>
      <p:pic>
        <p:nvPicPr>
          <p:cNvPr id="4" name="Graphic 3" descr="Map with pin outline">
            <a:extLst>
              <a:ext uri="{FF2B5EF4-FFF2-40B4-BE49-F238E27FC236}">
                <a16:creationId xmlns:a16="http://schemas.microsoft.com/office/drawing/2014/main" id="{F20B657D-C851-B0D3-C193-CC9DD59C2F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568" y="56055"/>
            <a:ext cx="288000" cy="288000"/>
          </a:xfrm>
          <a:prstGeom prst="rect">
            <a:avLst/>
          </a:prstGeom>
        </p:spPr>
      </p:pic>
      <p:sp>
        <p:nvSpPr>
          <p:cNvPr id="5" name="Content Placeholder 9">
            <a:extLst>
              <a:ext uri="{FF2B5EF4-FFF2-40B4-BE49-F238E27FC236}">
                <a16:creationId xmlns:a16="http://schemas.microsoft.com/office/drawing/2014/main" id="{70D9B5CB-78D5-925B-E842-FCC19BE5275D}"/>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110901182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rget_Process">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BE05C912-9040-00ED-A975-D00CE40F024D}"/>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2" name="Action Button: Go Home 11">
            <a:hlinkClick r:id="" action="ppaction://hlinkshowjump?jump=firstslide" highlightClick="1"/>
            <a:extLst>
              <a:ext uri="{FF2B5EF4-FFF2-40B4-BE49-F238E27FC236}">
                <a16:creationId xmlns:a16="http://schemas.microsoft.com/office/drawing/2014/main" id="{629CD91F-C346-A323-F7BD-BAB7B8BF4398}"/>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3" name="Action Button: Go Back or Previous 12">
            <a:hlinkClick r:id="" action="ppaction://hlinkshowjump?jump=lastslideviewed" highlightClick="1"/>
            <a:extLst>
              <a:ext uri="{FF2B5EF4-FFF2-40B4-BE49-F238E27FC236}">
                <a16:creationId xmlns:a16="http://schemas.microsoft.com/office/drawing/2014/main" id="{18979AC8-277E-FD0B-C6D5-1609EC1253D7}"/>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4" name="Action Button: Go Forward or Next 13">
            <a:hlinkClick r:id="" action="ppaction://hlinkshowjump?jump=nextslide" highlightClick="1"/>
            <a:extLst>
              <a:ext uri="{FF2B5EF4-FFF2-40B4-BE49-F238E27FC236}">
                <a16:creationId xmlns:a16="http://schemas.microsoft.com/office/drawing/2014/main" id="{C89CBA11-536B-3F8C-FC28-7270A86934CB}"/>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Title 158">
            <a:extLst>
              <a:ext uri="{FF2B5EF4-FFF2-40B4-BE49-F238E27FC236}">
                <a16:creationId xmlns:a16="http://schemas.microsoft.com/office/drawing/2014/main" id="{7C34C798-D046-BFD9-9130-3FA1DD4D8978}"/>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5" name="Rechteck 7">
            <a:extLst>
              <a:ext uri="{FF2B5EF4-FFF2-40B4-BE49-F238E27FC236}">
                <a16:creationId xmlns:a16="http://schemas.microsoft.com/office/drawing/2014/main" id="{AF018E51-856D-1CE7-AD15-A00E69CEF0B7}"/>
              </a:ext>
            </a:extLst>
          </p:cNvPr>
          <p:cNvSpPr/>
          <p:nvPr userDrawn="1"/>
        </p:nvSpPr>
        <p:spPr>
          <a:xfrm>
            <a:off x="279144" y="0"/>
            <a:ext cx="1452289" cy="400110"/>
          </a:xfrm>
          <a:prstGeom prst="rect">
            <a:avLst/>
          </a:prstGeom>
        </p:spPr>
        <p:txBody>
          <a:bodyPr wrap="square">
            <a:spAutoFit/>
          </a:bodyPr>
          <a:lstStyle/>
          <a:p>
            <a:pPr defTabSz="1023614"/>
            <a:r>
              <a:rPr lang="en-US" sz="1000" b="1" dirty="0">
                <a:solidFill>
                  <a:schemeClr val="tx2"/>
                </a:solidFill>
              </a:rPr>
              <a:t>WHO </a:t>
            </a:r>
            <a:r>
              <a:rPr lang="en-US" sz="1000" dirty="0">
                <a:solidFill>
                  <a:schemeClr val="tx2"/>
                </a:solidFill>
              </a:rPr>
              <a:t>should be doing </a:t>
            </a:r>
            <a:r>
              <a:rPr lang="en-US" sz="1000" b="1" dirty="0">
                <a:solidFill>
                  <a:schemeClr val="tx2"/>
                </a:solidFill>
              </a:rPr>
              <a:t>WHAT, WHEN?</a:t>
            </a:r>
            <a:endParaRPr lang="en-US" sz="1000" dirty="0">
              <a:solidFill>
                <a:schemeClr val="tx2"/>
              </a:solidFill>
            </a:endParaRPr>
          </a:p>
        </p:txBody>
      </p:sp>
      <p:pic>
        <p:nvPicPr>
          <p:cNvPr id="6" name="Graphic 5" descr="Lightbulb and pencil outline">
            <a:extLst>
              <a:ext uri="{FF2B5EF4-FFF2-40B4-BE49-F238E27FC236}">
                <a16:creationId xmlns:a16="http://schemas.microsoft.com/office/drawing/2014/main" id="{B527B3F6-C826-05E8-CDAD-DDE23FDDF6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
        <p:nvSpPr>
          <p:cNvPr id="7" name="Content Placeholder 9">
            <a:extLst>
              <a:ext uri="{FF2B5EF4-FFF2-40B4-BE49-F238E27FC236}">
                <a16:creationId xmlns:a16="http://schemas.microsoft.com/office/drawing/2014/main" id="{025D9F99-F7B8-80AA-07AD-B0ECAB54F383}"/>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281569744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rget_Process-Environment">
    <p:spTree>
      <p:nvGrpSpPr>
        <p:cNvPr id="1" name=""/>
        <p:cNvGrpSpPr/>
        <p:nvPr/>
      </p:nvGrpSpPr>
      <p:grpSpPr>
        <a:xfrm>
          <a:off x="0" y="0"/>
          <a:ext cx="0" cy="0"/>
          <a:chOff x="0" y="0"/>
          <a:chExt cx="0" cy="0"/>
        </a:xfrm>
      </p:grpSpPr>
      <p:sp>
        <p:nvSpPr>
          <p:cNvPr id="12" name="Rechteck: obere Ecken, eine abgerundet, eine abgeschnitten 5">
            <a:extLst>
              <a:ext uri="{FF2B5EF4-FFF2-40B4-BE49-F238E27FC236}">
                <a16:creationId xmlns:a16="http://schemas.microsoft.com/office/drawing/2014/main" id="{1F6684C0-B032-908E-9157-B5675BF177F2}"/>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3" name="Action Button: Go Home 12">
            <a:hlinkClick r:id="" action="ppaction://hlinkshowjump?jump=firstslide" highlightClick="1"/>
            <a:extLst>
              <a:ext uri="{FF2B5EF4-FFF2-40B4-BE49-F238E27FC236}">
                <a16:creationId xmlns:a16="http://schemas.microsoft.com/office/drawing/2014/main" id="{51EF61A2-0EBB-BE78-8A76-1FA55356A8A6}"/>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4" name="Action Button: Go Back or Previous 13">
            <a:hlinkClick r:id="" action="ppaction://hlinkshowjump?jump=lastslideviewed" highlightClick="1"/>
            <a:extLst>
              <a:ext uri="{FF2B5EF4-FFF2-40B4-BE49-F238E27FC236}">
                <a16:creationId xmlns:a16="http://schemas.microsoft.com/office/drawing/2014/main" id="{1A9C2B12-60C6-B258-C87D-F803B0F6FFD5}"/>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Action Button: Go Forward or Next 14">
            <a:hlinkClick r:id="" action="ppaction://hlinkshowjump?jump=nextslide" highlightClick="1"/>
            <a:extLst>
              <a:ext uri="{FF2B5EF4-FFF2-40B4-BE49-F238E27FC236}">
                <a16:creationId xmlns:a16="http://schemas.microsoft.com/office/drawing/2014/main" id="{AF79D753-E2AE-6DEC-7B9A-E1156C346564}"/>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6" name="Title 158">
            <a:extLst>
              <a:ext uri="{FF2B5EF4-FFF2-40B4-BE49-F238E27FC236}">
                <a16:creationId xmlns:a16="http://schemas.microsoft.com/office/drawing/2014/main" id="{6FFED407-CF0B-FA16-DF8A-1B36FB00A62E}"/>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2" name="Rechteck 7">
            <a:extLst>
              <a:ext uri="{FF2B5EF4-FFF2-40B4-BE49-F238E27FC236}">
                <a16:creationId xmlns:a16="http://schemas.microsoft.com/office/drawing/2014/main" id="{4BFD072D-8F6C-227F-917A-E171BEFB916E}"/>
              </a:ext>
            </a:extLst>
          </p:cNvPr>
          <p:cNvSpPr/>
          <p:nvPr userDrawn="1"/>
        </p:nvSpPr>
        <p:spPr>
          <a:xfrm>
            <a:off x="266445" y="0"/>
            <a:ext cx="1757089" cy="400110"/>
          </a:xfrm>
          <a:prstGeom prst="rect">
            <a:avLst/>
          </a:prstGeom>
        </p:spPr>
        <p:txBody>
          <a:bodyPr wrap="square">
            <a:spAutoFit/>
          </a:bodyPr>
          <a:lstStyle/>
          <a:p>
            <a:pPr defTabSz="1023614"/>
            <a:r>
              <a:rPr lang="en-US" sz="1000" b="1" dirty="0">
                <a:solidFill>
                  <a:schemeClr val="tx2"/>
                </a:solidFill>
              </a:rPr>
              <a:t>HOW </a:t>
            </a:r>
            <a:r>
              <a:rPr lang="en-US" sz="1000" b="0" dirty="0">
                <a:solidFill>
                  <a:schemeClr val="tx2"/>
                </a:solidFill>
              </a:rPr>
              <a:t>does the process environment </a:t>
            </a:r>
            <a:r>
              <a:rPr lang="en-US" sz="1000" b="1" dirty="0">
                <a:solidFill>
                  <a:schemeClr val="tx2"/>
                </a:solidFill>
              </a:rPr>
              <a:t>change?</a:t>
            </a:r>
            <a:endParaRPr lang="en-US" sz="1000" dirty="0">
              <a:solidFill>
                <a:schemeClr val="tx2"/>
              </a:solidFill>
            </a:endParaRPr>
          </a:p>
        </p:txBody>
      </p:sp>
      <p:pic>
        <p:nvPicPr>
          <p:cNvPr id="4" name="Graphic 3" descr="Lightbulb and pencil outline">
            <a:extLst>
              <a:ext uri="{FF2B5EF4-FFF2-40B4-BE49-F238E27FC236}">
                <a16:creationId xmlns:a16="http://schemas.microsoft.com/office/drawing/2014/main" id="{71F3C231-9414-AD97-91A1-02FE915C2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
        <p:nvSpPr>
          <p:cNvPr id="5" name="Content Placeholder 9">
            <a:extLst>
              <a:ext uri="{FF2B5EF4-FFF2-40B4-BE49-F238E27FC236}">
                <a16:creationId xmlns:a16="http://schemas.microsoft.com/office/drawing/2014/main" id="{3E6F229B-4677-CA8E-DA7B-7AB4DF672C8C}"/>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250909786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rget_Data-Structure">
    <p:spTree>
      <p:nvGrpSpPr>
        <p:cNvPr id="1" name=""/>
        <p:cNvGrpSpPr/>
        <p:nvPr/>
      </p:nvGrpSpPr>
      <p:grpSpPr>
        <a:xfrm>
          <a:off x="0" y="0"/>
          <a:ext cx="0" cy="0"/>
          <a:chOff x="0" y="0"/>
          <a:chExt cx="0" cy="0"/>
        </a:xfrm>
      </p:grpSpPr>
      <p:sp>
        <p:nvSpPr>
          <p:cNvPr id="11" name="Rechteck: obere Ecken, eine abgerundet, eine abgeschnitten 5">
            <a:extLst>
              <a:ext uri="{FF2B5EF4-FFF2-40B4-BE49-F238E27FC236}">
                <a16:creationId xmlns:a16="http://schemas.microsoft.com/office/drawing/2014/main" id="{D4AEB723-681C-72CB-33C8-DD3833150FC1}"/>
              </a:ext>
            </a:extLst>
          </p:cNvPr>
          <p:cNvSpPr/>
          <p:nvPr userDrawn="1"/>
        </p:nvSpPr>
        <p:spPr>
          <a:xfrm>
            <a:off x="1" y="3326"/>
            <a:ext cx="1708528" cy="372329"/>
          </a:xfrm>
          <a:prstGeom prst="snipRoundRect">
            <a:avLst>
              <a:gd name="adj1" fmla="val 16667"/>
              <a:gd name="adj2" fmla="val 18686"/>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eaLnBrk="1" latinLnBrk="0" hangingPunct="1">
              <a:lnSpc>
                <a:spcPct val="114000"/>
              </a:lnSpc>
              <a:buClrTx/>
              <a:buSzTx/>
              <a:buFontTx/>
              <a:buNone/>
              <a:tabLst/>
            </a:pPr>
            <a:endParaRPr kumimoji="0" lang="en-US" sz="900" b="0" i="0" u="none" strike="noStrike" cap="none" spc="0" normalizeH="0" baseline="0" noProof="0" dirty="0">
              <a:ln>
                <a:noFill/>
              </a:ln>
              <a:solidFill>
                <a:prstClr val="black"/>
              </a:solidFill>
              <a:effectLst/>
              <a:uLnTx/>
              <a:uFillTx/>
              <a:latin typeface="Arial"/>
            </a:endParaRPr>
          </a:p>
        </p:txBody>
      </p:sp>
      <p:sp>
        <p:nvSpPr>
          <p:cNvPr id="12" name="Action Button: Go Home 11">
            <a:hlinkClick r:id="" action="ppaction://hlinkshowjump?jump=firstslide" highlightClick="1"/>
            <a:extLst>
              <a:ext uri="{FF2B5EF4-FFF2-40B4-BE49-F238E27FC236}">
                <a16:creationId xmlns:a16="http://schemas.microsoft.com/office/drawing/2014/main" id="{A4258F32-4372-1FF4-3B11-F3ADA69461F4}"/>
              </a:ext>
            </a:extLst>
          </p:cNvPr>
          <p:cNvSpPr/>
          <p:nvPr userDrawn="1"/>
        </p:nvSpPr>
        <p:spPr>
          <a:xfrm>
            <a:off x="46567" y="4914569"/>
            <a:ext cx="180000" cy="180000"/>
          </a:xfrm>
          <a:prstGeom prst="actionButtonHom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3" name="Action Button: Go Back or Previous 12">
            <a:hlinkClick r:id="" action="ppaction://hlinkshowjump?jump=lastslideviewed" highlightClick="1"/>
            <a:extLst>
              <a:ext uri="{FF2B5EF4-FFF2-40B4-BE49-F238E27FC236}">
                <a16:creationId xmlns:a16="http://schemas.microsoft.com/office/drawing/2014/main" id="{31B7A9D4-A066-9B49-4293-2E5076943D12}"/>
              </a:ext>
            </a:extLst>
          </p:cNvPr>
          <p:cNvSpPr/>
          <p:nvPr userDrawn="1"/>
        </p:nvSpPr>
        <p:spPr>
          <a:xfrm>
            <a:off x="273134" y="4914569"/>
            <a:ext cx="180000" cy="180000"/>
          </a:xfrm>
          <a:prstGeom prst="actionButtonBackPrevious">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4" name="Action Button: Go Forward or Next 13">
            <a:hlinkClick r:id="" action="ppaction://hlinkshowjump?jump=nextslide" highlightClick="1"/>
            <a:extLst>
              <a:ext uri="{FF2B5EF4-FFF2-40B4-BE49-F238E27FC236}">
                <a16:creationId xmlns:a16="http://schemas.microsoft.com/office/drawing/2014/main" id="{F9AF1BF2-5C3D-CF69-CE5B-1BD16A441E1B}"/>
              </a:ext>
            </a:extLst>
          </p:cNvPr>
          <p:cNvSpPr/>
          <p:nvPr userDrawn="1"/>
        </p:nvSpPr>
        <p:spPr>
          <a:xfrm>
            <a:off x="499701" y="4914569"/>
            <a:ext cx="180000" cy="180000"/>
          </a:xfrm>
          <a:prstGeom prst="actionButtonForwardNex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lnSpc>
                <a:spcPct val="114000"/>
              </a:lnSpc>
            </a:pPr>
            <a:endParaRPr lang="en-US" dirty="0"/>
          </a:p>
        </p:txBody>
      </p:sp>
      <p:sp>
        <p:nvSpPr>
          <p:cNvPr id="15" name="Title 158">
            <a:extLst>
              <a:ext uri="{FF2B5EF4-FFF2-40B4-BE49-F238E27FC236}">
                <a16:creationId xmlns:a16="http://schemas.microsoft.com/office/drawing/2014/main" id="{E789D709-C346-D722-61ED-EC95EF55C263}"/>
              </a:ext>
            </a:extLst>
          </p:cNvPr>
          <p:cNvSpPr>
            <a:spLocks noGrp="1"/>
          </p:cNvSpPr>
          <p:nvPr>
            <p:ph type="title" hasCustomPrompt="1"/>
          </p:nvPr>
        </p:nvSpPr>
        <p:spPr>
          <a:xfrm>
            <a:off x="0" y="-402563"/>
            <a:ext cx="7886700" cy="395160"/>
          </a:xfrm>
          <a:prstGeom prst="rect">
            <a:avLst/>
          </a:prstGeom>
        </p:spPr>
        <p:txBody>
          <a:bodyPr/>
          <a:lstStyle>
            <a:lvl1pPr>
              <a:defRPr b="1"/>
            </a:lvl1pPr>
          </a:lstStyle>
          <a:p>
            <a:r>
              <a:rPr lang="en-US" dirty="0"/>
              <a:t>Add title here to name your slide</a:t>
            </a:r>
          </a:p>
        </p:txBody>
      </p:sp>
      <p:sp>
        <p:nvSpPr>
          <p:cNvPr id="2" name="Rechteck 7">
            <a:extLst>
              <a:ext uri="{FF2B5EF4-FFF2-40B4-BE49-F238E27FC236}">
                <a16:creationId xmlns:a16="http://schemas.microsoft.com/office/drawing/2014/main" id="{39B26F00-FE05-E885-F17E-4E9BECE9B1D2}"/>
              </a:ext>
            </a:extLst>
          </p:cNvPr>
          <p:cNvSpPr/>
          <p:nvPr userDrawn="1"/>
        </p:nvSpPr>
        <p:spPr>
          <a:xfrm>
            <a:off x="279144" y="0"/>
            <a:ext cx="1706289" cy="400110"/>
          </a:xfrm>
          <a:prstGeom prst="rect">
            <a:avLst/>
          </a:prstGeom>
        </p:spPr>
        <p:txBody>
          <a:bodyPr wrap="square">
            <a:spAutoFit/>
          </a:bodyPr>
          <a:lstStyle/>
          <a:p>
            <a:pPr defTabSz="1023614"/>
            <a:r>
              <a:rPr lang="en-US" sz="1000" b="1" dirty="0">
                <a:solidFill>
                  <a:schemeClr val="tx2"/>
                </a:solidFill>
              </a:rPr>
              <a:t>HOW </a:t>
            </a:r>
            <a:r>
              <a:rPr lang="en-US" sz="1000" b="0" dirty="0">
                <a:solidFill>
                  <a:schemeClr val="tx2"/>
                </a:solidFill>
              </a:rPr>
              <a:t>does the data structure </a:t>
            </a:r>
            <a:r>
              <a:rPr lang="en-US" sz="1000" b="1" dirty="0">
                <a:solidFill>
                  <a:schemeClr val="tx2"/>
                </a:solidFill>
              </a:rPr>
              <a:t>change?</a:t>
            </a:r>
            <a:endParaRPr lang="en-US" sz="1000" dirty="0">
              <a:solidFill>
                <a:schemeClr val="tx2"/>
              </a:solidFill>
            </a:endParaRPr>
          </a:p>
        </p:txBody>
      </p:sp>
      <p:pic>
        <p:nvPicPr>
          <p:cNvPr id="4" name="Graphic 3" descr="Lightbulb and pencil outline">
            <a:extLst>
              <a:ext uri="{FF2B5EF4-FFF2-40B4-BE49-F238E27FC236}">
                <a16:creationId xmlns:a16="http://schemas.microsoft.com/office/drawing/2014/main" id="{9503B3FE-02A2-F209-0F3C-9133F74A0D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875" y="56055"/>
            <a:ext cx="288000" cy="288000"/>
          </a:xfrm>
          <a:prstGeom prst="rect">
            <a:avLst/>
          </a:prstGeom>
        </p:spPr>
      </p:pic>
      <p:sp>
        <p:nvSpPr>
          <p:cNvPr id="5" name="Content Placeholder 9">
            <a:extLst>
              <a:ext uri="{FF2B5EF4-FFF2-40B4-BE49-F238E27FC236}">
                <a16:creationId xmlns:a16="http://schemas.microsoft.com/office/drawing/2014/main" id="{2352A48B-5423-2179-9028-6C9C0682B110}"/>
              </a:ext>
            </a:extLst>
          </p:cNvPr>
          <p:cNvSpPr>
            <a:spLocks noGrp="1"/>
          </p:cNvSpPr>
          <p:nvPr>
            <p:ph sz="quarter" idx="10"/>
          </p:nvPr>
        </p:nvSpPr>
        <p:spPr>
          <a:xfrm>
            <a:off x="0" y="387350"/>
            <a:ext cx="9144000" cy="4756150"/>
          </a:xfrm>
          <a:prstGeom prst="rect">
            <a:avLst/>
          </a:prstGeom>
        </p:spPr>
        <p:txBody>
          <a:bodyPr anchor="t"/>
          <a:lstStyle>
            <a:lvl1pPr algn="ctr">
              <a:defRPr b="1">
                <a:solidFill>
                  <a:schemeClr val="bg1">
                    <a:lumMod val="95000"/>
                  </a:schemeClr>
                </a:solidFill>
              </a:defRPr>
            </a:lvl1pPr>
            <a:lvl2pPr>
              <a:defRPr b="1">
                <a:solidFill>
                  <a:schemeClr val="bg1">
                    <a:lumMod val="95000"/>
                  </a:schemeClr>
                </a:solidFill>
              </a:defRPr>
            </a:lvl2pPr>
            <a:lvl3pPr>
              <a:defRPr b="1">
                <a:solidFill>
                  <a:schemeClr val="bg1">
                    <a:lumMod val="95000"/>
                  </a:schemeClr>
                </a:solidFill>
              </a:defRPr>
            </a:lvl3pPr>
            <a:lvl4pPr>
              <a:defRPr b="1">
                <a:solidFill>
                  <a:schemeClr val="bg1">
                    <a:lumMod val="95000"/>
                  </a:schemeClr>
                </a:solidFill>
              </a:defRPr>
            </a:lvl4pPr>
            <a:lvl5pPr>
              <a:defRPr b="1">
                <a:solidFill>
                  <a:schemeClr val="bg1">
                    <a:lumMod val="95000"/>
                  </a:schemeClr>
                </a:solidFill>
              </a:defRPr>
            </a:lvl5pPr>
          </a:lstStyle>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Here you can enter the as-is situation models. These models can be created with various tools.</a:t>
            </a:r>
          </a:p>
        </p:txBody>
      </p:sp>
    </p:spTree>
    <p:extLst>
      <p:ext uri="{BB962C8B-B14F-4D97-AF65-F5344CB8AC3E}">
        <p14:creationId xmlns:p14="http://schemas.microsoft.com/office/powerpoint/2010/main" val="219078045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oleObject" Target="../embeddings/oleObject2.bin"/><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ags" Target="../tags/tag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2.xml"/><Relationship Id="rId5" Type="http://schemas.openxmlformats.org/officeDocument/2006/relationships/slideLayout" Target="../slideLayouts/slideLayout7.xml"/><Relationship Id="rId15" Type="http://schemas.openxmlformats.org/officeDocument/2006/relationships/image" Target="../media/image5.emf"/><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3.bin"/><Relationship Id="rId5" Type="http://schemas.openxmlformats.org/officeDocument/2006/relationships/slideLayout" Target="../slideLayouts/slideLayout17.xml"/><Relationship Id="rId10" Type="http://schemas.openxmlformats.org/officeDocument/2006/relationships/tags" Target="../tags/tag4.xml"/><Relationship Id="rId4" Type="http://schemas.openxmlformats.org/officeDocument/2006/relationships/slideLayout" Target="../slideLayouts/slideLayout1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3.png"/><Relationship Id="rId2" Type="http://schemas.openxmlformats.org/officeDocument/2006/relationships/theme" Target="../theme/theme4.xml"/><Relationship Id="rId1" Type="http://schemas.openxmlformats.org/officeDocument/2006/relationships/slideLayout" Target="../slideLayouts/slideLayout21.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4"/>
            </p:custDataLst>
            <p:extLst>
              <p:ext uri="{D42A27DB-BD31-4B8C-83A1-F6EECF244321}">
                <p14:modId xmlns:p14="http://schemas.microsoft.com/office/powerpoint/2010/main" val="347417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589784"/>
      </p:ext>
    </p:extLst>
  </p:cSld>
  <p:clrMap bg1="lt1" tx1="dk1" bg2="lt2" tx2="dk2" accent1="accent1" accent2="accent2" accent3="accent3" accent4="accent4" accent5="accent5" accent6="accent6" hlink="hlink" folHlink="folHlink"/>
  <p:sldLayoutIdLst>
    <p:sldLayoutId id="2147483750" r:id="rId1"/>
    <p:sldLayoutId id="2147483751" r:id="rId2"/>
  </p:sldLayoutIdLst>
  <p:hf hdr="0" dt="0"/>
  <p:txStyles>
    <p:titleStyle>
      <a:lvl1pPr algn="l" rtl="0" eaLnBrk="0" fontAlgn="base" hangingPunct="0">
        <a:lnSpc>
          <a:spcPct val="125000"/>
        </a:lnSpc>
        <a:spcBef>
          <a:spcPct val="0"/>
        </a:spcBef>
        <a:spcAft>
          <a:spcPct val="0"/>
        </a:spcAft>
        <a:defRPr sz="1847" b="0" kern="1200">
          <a:solidFill>
            <a:schemeClr val="tx1"/>
          </a:solidFill>
          <a:latin typeface="+mj-lt"/>
          <a:ea typeface="+mj-ea"/>
          <a:cs typeface="+mj-cs"/>
        </a:defRPr>
      </a:lvl1pPr>
      <a:lvl2pPr algn="l" rtl="0" eaLnBrk="0" fontAlgn="base" hangingPunct="0">
        <a:spcBef>
          <a:spcPct val="0"/>
        </a:spcBef>
        <a:spcAft>
          <a:spcPct val="0"/>
        </a:spcAft>
        <a:defRPr sz="1679" b="1">
          <a:solidFill>
            <a:schemeClr val="tx2"/>
          </a:solidFill>
          <a:latin typeface="Arial" charset="0"/>
          <a:cs typeface="Arial" charset="0"/>
        </a:defRPr>
      </a:lvl2pPr>
      <a:lvl3pPr algn="l" rtl="0" eaLnBrk="0" fontAlgn="base" hangingPunct="0">
        <a:spcBef>
          <a:spcPct val="0"/>
        </a:spcBef>
        <a:spcAft>
          <a:spcPct val="0"/>
        </a:spcAft>
        <a:defRPr sz="1679" b="1">
          <a:solidFill>
            <a:schemeClr val="tx2"/>
          </a:solidFill>
          <a:latin typeface="Arial" charset="0"/>
          <a:cs typeface="Arial" charset="0"/>
        </a:defRPr>
      </a:lvl3pPr>
      <a:lvl4pPr algn="l" rtl="0" eaLnBrk="0" fontAlgn="base" hangingPunct="0">
        <a:spcBef>
          <a:spcPct val="0"/>
        </a:spcBef>
        <a:spcAft>
          <a:spcPct val="0"/>
        </a:spcAft>
        <a:defRPr sz="1679" b="1">
          <a:solidFill>
            <a:schemeClr val="tx2"/>
          </a:solidFill>
          <a:latin typeface="Arial" charset="0"/>
          <a:cs typeface="Arial" charset="0"/>
        </a:defRPr>
      </a:lvl4pPr>
      <a:lvl5pPr algn="l" rtl="0" eaLnBrk="0" fontAlgn="base" hangingPunct="0">
        <a:spcBef>
          <a:spcPct val="0"/>
        </a:spcBef>
        <a:spcAft>
          <a:spcPct val="0"/>
        </a:spcAft>
        <a:defRPr sz="1679" b="1">
          <a:solidFill>
            <a:schemeClr val="tx2"/>
          </a:solidFill>
          <a:latin typeface="Arial" charset="0"/>
          <a:cs typeface="Arial" charset="0"/>
        </a:defRPr>
      </a:lvl5pPr>
      <a:lvl6pPr marL="383850" algn="l" rtl="0" fontAlgn="base">
        <a:spcBef>
          <a:spcPct val="0"/>
        </a:spcBef>
        <a:spcAft>
          <a:spcPct val="0"/>
        </a:spcAft>
        <a:defRPr sz="1679" b="1">
          <a:solidFill>
            <a:schemeClr val="tx2"/>
          </a:solidFill>
          <a:latin typeface="Arial" charset="0"/>
          <a:cs typeface="Arial" charset="0"/>
        </a:defRPr>
      </a:lvl6pPr>
      <a:lvl7pPr marL="767699" algn="l" rtl="0" fontAlgn="base">
        <a:spcBef>
          <a:spcPct val="0"/>
        </a:spcBef>
        <a:spcAft>
          <a:spcPct val="0"/>
        </a:spcAft>
        <a:defRPr sz="1679" b="1">
          <a:solidFill>
            <a:schemeClr val="tx2"/>
          </a:solidFill>
          <a:latin typeface="Arial" charset="0"/>
          <a:cs typeface="Arial" charset="0"/>
        </a:defRPr>
      </a:lvl7pPr>
      <a:lvl8pPr marL="1151549" algn="l" rtl="0" fontAlgn="base">
        <a:spcBef>
          <a:spcPct val="0"/>
        </a:spcBef>
        <a:spcAft>
          <a:spcPct val="0"/>
        </a:spcAft>
        <a:defRPr sz="1679" b="1">
          <a:solidFill>
            <a:schemeClr val="tx2"/>
          </a:solidFill>
          <a:latin typeface="Arial" charset="0"/>
          <a:cs typeface="Arial" charset="0"/>
        </a:defRPr>
      </a:lvl8pPr>
      <a:lvl9pPr marL="1535399" algn="l" rtl="0" fontAlgn="base">
        <a:spcBef>
          <a:spcPct val="0"/>
        </a:spcBef>
        <a:spcAft>
          <a:spcPct val="0"/>
        </a:spcAft>
        <a:defRPr sz="1679"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343" kern="1200">
          <a:solidFill>
            <a:schemeClr val="tx1"/>
          </a:solidFill>
          <a:latin typeface="+mn-lt"/>
          <a:ea typeface="+mn-ea"/>
          <a:cs typeface="+mn-cs"/>
        </a:defRPr>
      </a:lvl1pPr>
      <a:lvl2pPr marL="147943" indent="-147943" algn="l" rtl="0" eaLnBrk="0" fontAlgn="base" hangingPunct="0">
        <a:lnSpc>
          <a:spcPct val="100000"/>
        </a:lnSpc>
        <a:spcBef>
          <a:spcPct val="0"/>
        </a:spcBef>
        <a:spcAft>
          <a:spcPct val="0"/>
        </a:spcAft>
        <a:buFont typeface="Arial" charset="0"/>
        <a:buChar char="•"/>
        <a:defRPr sz="1343" kern="1200">
          <a:solidFill>
            <a:schemeClr val="tx1"/>
          </a:solidFill>
          <a:latin typeface="+mn-lt"/>
          <a:ea typeface="+mn-ea"/>
          <a:cs typeface="+mn-cs"/>
        </a:defRPr>
      </a:lvl2pPr>
      <a:lvl3pPr marL="302549" indent="-154606"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3pPr>
      <a:lvl4pPr marL="451824" indent="-149275"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4pPr>
      <a:lvl5pPr marL="599765" indent="-147943"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5pPr>
      <a:lvl6pPr marL="21111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6pPr>
      <a:lvl7pPr marL="24950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7pPr>
      <a:lvl8pPr marL="28788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8pPr>
      <a:lvl9pPr marL="32627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9pPr>
    </p:bodyStyle>
    <p:otherStyle>
      <a:defPPr>
        <a:defRPr lang="de-DE"/>
      </a:defPPr>
      <a:lvl1pPr marL="0" algn="l" defTabSz="767699" rtl="0" eaLnBrk="1" latinLnBrk="0" hangingPunct="1">
        <a:defRPr sz="1511" kern="1200">
          <a:solidFill>
            <a:schemeClr val="tx1"/>
          </a:solidFill>
          <a:latin typeface="+mn-lt"/>
          <a:ea typeface="+mn-ea"/>
          <a:cs typeface="+mn-cs"/>
        </a:defRPr>
      </a:lvl1pPr>
      <a:lvl2pPr marL="383850" algn="l" defTabSz="767699" rtl="0" eaLnBrk="1" latinLnBrk="0" hangingPunct="1">
        <a:defRPr sz="1511" kern="1200">
          <a:solidFill>
            <a:schemeClr val="tx1"/>
          </a:solidFill>
          <a:latin typeface="+mn-lt"/>
          <a:ea typeface="+mn-ea"/>
          <a:cs typeface="+mn-cs"/>
        </a:defRPr>
      </a:lvl2pPr>
      <a:lvl3pPr marL="767699" algn="l" defTabSz="767699" rtl="0" eaLnBrk="1" latinLnBrk="0" hangingPunct="1">
        <a:defRPr sz="1511" kern="1200">
          <a:solidFill>
            <a:schemeClr val="tx1"/>
          </a:solidFill>
          <a:latin typeface="+mn-lt"/>
          <a:ea typeface="+mn-ea"/>
          <a:cs typeface="+mn-cs"/>
        </a:defRPr>
      </a:lvl3pPr>
      <a:lvl4pPr marL="1151549" algn="l" defTabSz="767699" rtl="0" eaLnBrk="1" latinLnBrk="0" hangingPunct="1">
        <a:defRPr sz="1511" kern="1200">
          <a:solidFill>
            <a:schemeClr val="tx1"/>
          </a:solidFill>
          <a:latin typeface="+mn-lt"/>
          <a:ea typeface="+mn-ea"/>
          <a:cs typeface="+mn-cs"/>
        </a:defRPr>
      </a:lvl4pPr>
      <a:lvl5pPr marL="1535399" algn="l" defTabSz="767699" rtl="0" eaLnBrk="1" latinLnBrk="0" hangingPunct="1">
        <a:defRPr sz="1511" kern="1200">
          <a:solidFill>
            <a:schemeClr val="tx1"/>
          </a:solidFill>
          <a:latin typeface="+mn-lt"/>
          <a:ea typeface="+mn-ea"/>
          <a:cs typeface="+mn-cs"/>
        </a:defRPr>
      </a:lvl5pPr>
      <a:lvl6pPr marL="1919249" algn="l" defTabSz="767699" rtl="0" eaLnBrk="1" latinLnBrk="0" hangingPunct="1">
        <a:defRPr sz="1511" kern="1200">
          <a:solidFill>
            <a:schemeClr val="tx1"/>
          </a:solidFill>
          <a:latin typeface="+mn-lt"/>
          <a:ea typeface="+mn-ea"/>
          <a:cs typeface="+mn-cs"/>
        </a:defRPr>
      </a:lvl6pPr>
      <a:lvl7pPr marL="2303098" algn="l" defTabSz="767699" rtl="0" eaLnBrk="1" latinLnBrk="0" hangingPunct="1">
        <a:defRPr sz="1511" kern="1200">
          <a:solidFill>
            <a:schemeClr val="tx1"/>
          </a:solidFill>
          <a:latin typeface="+mn-lt"/>
          <a:ea typeface="+mn-ea"/>
          <a:cs typeface="+mn-cs"/>
        </a:defRPr>
      </a:lvl7pPr>
      <a:lvl8pPr marL="2686948" algn="l" defTabSz="767699" rtl="0" eaLnBrk="1" latinLnBrk="0" hangingPunct="1">
        <a:defRPr sz="1511" kern="1200">
          <a:solidFill>
            <a:schemeClr val="tx1"/>
          </a:solidFill>
          <a:latin typeface="+mn-lt"/>
          <a:ea typeface="+mn-ea"/>
          <a:cs typeface="+mn-cs"/>
        </a:defRPr>
      </a:lvl8pPr>
      <a:lvl9pPr marL="3070798" algn="l" defTabSz="767699" rtl="0" eaLnBrk="1" latinLnBrk="0" hangingPunct="1">
        <a:defRPr sz="151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2"/>
            </p:custDataLst>
            <p:extLst>
              <p:ext uri="{D42A27DB-BD31-4B8C-83A1-F6EECF244321}">
                <p14:modId xmlns:p14="http://schemas.microsoft.com/office/powerpoint/2010/main" val="347417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3" imgH="493" progId="TCLayout.ActiveDocument.1">
                  <p:embed/>
                </p:oleObj>
              </mc:Choice>
              <mc:Fallback>
                <p:oleObj name="think-cell Slide" r:id="rId13" imgW="493" imgH="493" progId="TCLayout.ActiveDocument.1">
                  <p:embed/>
                  <p:pic>
                    <p:nvPicPr>
                      <p:cNvPr id="3" name="Objekt 2" hidden="1"/>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127" name="Bild 3" descr="20150416 tum logo blau png final.png">
            <a:extLst>
              <a:ext uri="{FF2B5EF4-FFF2-40B4-BE49-F238E27FC236}">
                <a16:creationId xmlns:a16="http://schemas.microsoft.com/office/drawing/2014/main" id="{3730E0CA-2944-1FB6-EEF8-2D60C2884B96}"/>
              </a:ext>
            </a:extLst>
          </p:cNvPr>
          <p:cNvPicPr>
            <a:picLocks noChangeAspect="1"/>
          </p:cNvPicPr>
          <p:nvPr userDrawn="1"/>
        </p:nvPicPr>
        <p:blipFill>
          <a:blip r:embed="rId15"/>
          <a:stretch>
            <a:fillRect/>
          </a:stretch>
        </p:blipFill>
        <p:spPr bwMode="black">
          <a:xfrm>
            <a:off x="8515134" y="36133"/>
            <a:ext cx="599513" cy="320288"/>
          </a:xfrm>
          <a:prstGeom prst="rect">
            <a:avLst/>
          </a:prstGeom>
        </p:spPr>
      </p:pic>
    </p:spTree>
    <p:extLst>
      <p:ext uri="{BB962C8B-B14F-4D97-AF65-F5344CB8AC3E}">
        <p14:creationId xmlns:p14="http://schemas.microsoft.com/office/powerpoint/2010/main" val="265567994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1" r:id="rId4"/>
    <p:sldLayoutId id="2147483744" r:id="rId5"/>
    <p:sldLayoutId id="2147483745" r:id="rId6"/>
    <p:sldLayoutId id="2147483746" r:id="rId7"/>
    <p:sldLayoutId id="2147483742" r:id="rId8"/>
    <p:sldLayoutId id="2147483743" r:id="rId9"/>
    <p:sldLayoutId id="2147483747" r:id="rId10"/>
  </p:sldLayoutIdLst>
  <p:hf hdr="0" dt="0"/>
  <p:txStyles>
    <p:titleStyle>
      <a:lvl1pPr algn="l" rtl="0" eaLnBrk="0" fontAlgn="base" hangingPunct="0">
        <a:lnSpc>
          <a:spcPct val="125000"/>
        </a:lnSpc>
        <a:spcBef>
          <a:spcPct val="0"/>
        </a:spcBef>
        <a:spcAft>
          <a:spcPct val="0"/>
        </a:spcAft>
        <a:defRPr sz="1847" b="0" kern="1200">
          <a:solidFill>
            <a:schemeClr val="tx1"/>
          </a:solidFill>
          <a:latin typeface="+mj-lt"/>
          <a:ea typeface="+mj-ea"/>
          <a:cs typeface="+mj-cs"/>
        </a:defRPr>
      </a:lvl1pPr>
      <a:lvl2pPr algn="l" rtl="0" eaLnBrk="0" fontAlgn="base" hangingPunct="0">
        <a:spcBef>
          <a:spcPct val="0"/>
        </a:spcBef>
        <a:spcAft>
          <a:spcPct val="0"/>
        </a:spcAft>
        <a:defRPr sz="1679" b="1">
          <a:solidFill>
            <a:schemeClr val="tx2"/>
          </a:solidFill>
          <a:latin typeface="Arial" charset="0"/>
          <a:cs typeface="Arial" charset="0"/>
        </a:defRPr>
      </a:lvl2pPr>
      <a:lvl3pPr algn="l" rtl="0" eaLnBrk="0" fontAlgn="base" hangingPunct="0">
        <a:spcBef>
          <a:spcPct val="0"/>
        </a:spcBef>
        <a:spcAft>
          <a:spcPct val="0"/>
        </a:spcAft>
        <a:defRPr sz="1679" b="1">
          <a:solidFill>
            <a:schemeClr val="tx2"/>
          </a:solidFill>
          <a:latin typeface="Arial" charset="0"/>
          <a:cs typeface="Arial" charset="0"/>
        </a:defRPr>
      </a:lvl3pPr>
      <a:lvl4pPr algn="l" rtl="0" eaLnBrk="0" fontAlgn="base" hangingPunct="0">
        <a:spcBef>
          <a:spcPct val="0"/>
        </a:spcBef>
        <a:spcAft>
          <a:spcPct val="0"/>
        </a:spcAft>
        <a:defRPr sz="1679" b="1">
          <a:solidFill>
            <a:schemeClr val="tx2"/>
          </a:solidFill>
          <a:latin typeface="Arial" charset="0"/>
          <a:cs typeface="Arial" charset="0"/>
        </a:defRPr>
      </a:lvl4pPr>
      <a:lvl5pPr algn="l" rtl="0" eaLnBrk="0" fontAlgn="base" hangingPunct="0">
        <a:spcBef>
          <a:spcPct val="0"/>
        </a:spcBef>
        <a:spcAft>
          <a:spcPct val="0"/>
        </a:spcAft>
        <a:defRPr sz="1679" b="1">
          <a:solidFill>
            <a:schemeClr val="tx2"/>
          </a:solidFill>
          <a:latin typeface="Arial" charset="0"/>
          <a:cs typeface="Arial" charset="0"/>
        </a:defRPr>
      </a:lvl5pPr>
      <a:lvl6pPr marL="383850" algn="l" rtl="0" fontAlgn="base">
        <a:spcBef>
          <a:spcPct val="0"/>
        </a:spcBef>
        <a:spcAft>
          <a:spcPct val="0"/>
        </a:spcAft>
        <a:defRPr sz="1679" b="1">
          <a:solidFill>
            <a:schemeClr val="tx2"/>
          </a:solidFill>
          <a:latin typeface="Arial" charset="0"/>
          <a:cs typeface="Arial" charset="0"/>
        </a:defRPr>
      </a:lvl6pPr>
      <a:lvl7pPr marL="767699" algn="l" rtl="0" fontAlgn="base">
        <a:spcBef>
          <a:spcPct val="0"/>
        </a:spcBef>
        <a:spcAft>
          <a:spcPct val="0"/>
        </a:spcAft>
        <a:defRPr sz="1679" b="1">
          <a:solidFill>
            <a:schemeClr val="tx2"/>
          </a:solidFill>
          <a:latin typeface="Arial" charset="0"/>
          <a:cs typeface="Arial" charset="0"/>
        </a:defRPr>
      </a:lvl7pPr>
      <a:lvl8pPr marL="1151549" algn="l" rtl="0" fontAlgn="base">
        <a:spcBef>
          <a:spcPct val="0"/>
        </a:spcBef>
        <a:spcAft>
          <a:spcPct val="0"/>
        </a:spcAft>
        <a:defRPr sz="1679" b="1">
          <a:solidFill>
            <a:schemeClr val="tx2"/>
          </a:solidFill>
          <a:latin typeface="Arial" charset="0"/>
          <a:cs typeface="Arial" charset="0"/>
        </a:defRPr>
      </a:lvl8pPr>
      <a:lvl9pPr marL="1535399" algn="l" rtl="0" fontAlgn="base">
        <a:spcBef>
          <a:spcPct val="0"/>
        </a:spcBef>
        <a:spcAft>
          <a:spcPct val="0"/>
        </a:spcAft>
        <a:defRPr sz="1679"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343" kern="1200">
          <a:solidFill>
            <a:schemeClr val="tx1"/>
          </a:solidFill>
          <a:latin typeface="+mn-lt"/>
          <a:ea typeface="+mn-ea"/>
          <a:cs typeface="+mn-cs"/>
        </a:defRPr>
      </a:lvl1pPr>
      <a:lvl2pPr marL="147943" indent="-147943" algn="l" rtl="0" eaLnBrk="0" fontAlgn="base" hangingPunct="0">
        <a:lnSpc>
          <a:spcPct val="100000"/>
        </a:lnSpc>
        <a:spcBef>
          <a:spcPct val="0"/>
        </a:spcBef>
        <a:spcAft>
          <a:spcPct val="0"/>
        </a:spcAft>
        <a:buFont typeface="Arial" charset="0"/>
        <a:buChar char="•"/>
        <a:defRPr sz="1343" kern="1200">
          <a:solidFill>
            <a:schemeClr val="tx1"/>
          </a:solidFill>
          <a:latin typeface="+mn-lt"/>
          <a:ea typeface="+mn-ea"/>
          <a:cs typeface="+mn-cs"/>
        </a:defRPr>
      </a:lvl2pPr>
      <a:lvl3pPr marL="302549" indent="-154606"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3pPr>
      <a:lvl4pPr marL="451824" indent="-149275"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4pPr>
      <a:lvl5pPr marL="599765" indent="-147943"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5pPr>
      <a:lvl6pPr marL="21111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6pPr>
      <a:lvl7pPr marL="24950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7pPr>
      <a:lvl8pPr marL="28788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8pPr>
      <a:lvl9pPr marL="32627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9pPr>
    </p:bodyStyle>
    <p:otherStyle>
      <a:defPPr>
        <a:defRPr lang="de-DE"/>
      </a:defPPr>
      <a:lvl1pPr marL="0" algn="l" defTabSz="767699" rtl="0" eaLnBrk="1" latinLnBrk="0" hangingPunct="1">
        <a:defRPr sz="1511" kern="1200">
          <a:solidFill>
            <a:schemeClr val="tx1"/>
          </a:solidFill>
          <a:latin typeface="+mn-lt"/>
          <a:ea typeface="+mn-ea"/>
          <a:cs typeface="+mn-cs"/>
        </a:defRPr>
      </a:lvl1pPr>
      <a:lvl2pPr marL="383850" algn="l" defTabSz="767699" rtl="0" eaLnBrk="1" latinLnBrk="0" hangingPunct="1">
        <a:defRPr sz="1511" kern="1200">
          <a:solidFill>
            <a:schemeClr val="tx1"/>
          </a:solidFill>
          <a:latin typeface="+mn-lt"/>
          <a:ea typeface="+mn-ea"/>
          <a:cs typeface="+mn-cs"/>
        </a:defRPr>
      </a:lvl2pPr>
      <a:lvl3pPr marL="767699" algn="l" defTabSz="767699" rtl="0" eaLnBrk="1" latinLnBrk="0" hangingPunct="1">
        <a:defRPr sz="1511" kern="1200">
          <a:solidFill>
            <a:schemeClr val="tx1"/>
          </a:solidFill>
          <a:latin typeface="+mn-lt"/>
          <a:ea typeface="+mn-ea"/>
          <a:cs typeface="+mn-cs"/>
        </a:defRPr>
      </a:lvl3pPr>
      <a:lvl4pPr marL="1151549" algn="l" defTabSz="767699" rtl="0" eaLnBrk="1" latinLnBrk="0" hangingPunct="1">
        <a:defRPr sz="1511" kern="1200">
          <a:solidFill>
            <a:schemeClr val="tx1"/>
          </a:solidFill>
          <a:latin typeface="+mn-lt"/>
          <a:ea typeface="+mn-ea"/>
          <a:cs typeface="+mn-cs"/>
        </a:defRPr>
      </a:lvl4pPr>
      <a:lvl5pPr marL="1535399" algn="l" defTabSz="767699" rtl="0" eaLnBrk="1" latinLnBrk="0" hangingPunct="1">
        <a:defRPr sz="1511" kern="1200">
          <a:solidFill>
            <a:schemeClr val="tx1"/>
          </a:solidFill>
          <a:latin typeface="+mn-lt"/>
          <a:ea typeface="+mn-ea"/>
          <a:cs typeface="+mn-cs"/>
        </a:defRPr>
      </a:lvl5pPr>
      <a:lvl6pPr marL="1919249" algn="l" defTabSz="767699" rtl="0" eaLnBrk="1" latinLnBrk="0" hangingPunct="1">
        <a:defRPr sz="1511" kern="1200">
          <a:solidFill>
            <a:schemeClr val="tx1"/>
          </a:solidFill>
          <a:latin typeface="+mn-lt"/>
          <a:ea typeface="+mn-ea"/>
          <a:cs typeface="+mn-cs"/>
        </a:defRPr>
      </a:lvl6pPr>
      <a:lvl7pPr marL="2303098" algn="l" defTabSz="767699" rtl="0" eaLnBrk="1" latinLnBrk="0" hangingPunct="1">
        <a:defRPr sz="1511" kern="1200">
          <a:solidFill>
            <a:schemeClr val="tx1"/>
          </a:solidFill>
          <a:latin typeface="+mn-lt"/>
          <a:ea typeface="+mn-ea"/>
          <a:cs typeface="+mn-cs"/>
        </a:defRPr>
      </a:lvl7pPr>
      <a:lvl8pPr marL="2686948" algn="l" defTabSz="767699" rtl="0" eaLnBrk="1" latinLnBrk="0" hangingPunct="1">
        <a:defRPr sz="1511" kern="1200">
          <a:solidFill>
            <a:schemeClr val="tx1"/>
          </a:solidFill>
          <a:latin typeface="+mn-lt"/>
          <a:ea typeface="+mn-ea"/>
          <a:cs typeface="+mn-cs"/>
        </a:defRPr>
      </a:lvl8pPr>
      <a:lvl9pPr marL="3070798" algn="l" defTabSz="767699" rtl="0" eaLnBrk="1" latinLnBrk="0" hangingPunct="1">
        <a:defRPr sz="151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0"/>
            </p:custDataLst>
            <p:extLst>
              <p:ext uri="{D42A27DB-BD31-4B8C-83A1-F6EECF244321}">
                <p14:modId xmlns:p14="http://schemas.microsoft.com/office/powerpoint/2010/main" val="347417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93" imgH="493" progId="TCLayout.ActiveDocument.1">
                  <p:embed/>
                </p:oleObj>
              </mc:Choice>
              <mc:Fallback>
                <p:oleObj name="think-cell Slide" r:id="rId11" imgW="493" imgH="493" progId="TCLayout.ActiveDocument.1">
                  <p:embed/>
                  <p:pic>
                    <p:nvPicPr>
                      <p:cNvPr id="3" name="Objekt 2" hidden="1"/>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27" name="Bild 3" descr="20150416 tum logo blau png final.png">
            <a:extLst>
              <a:ext uri="{FF2B5EF4-FFF2-40B4-BE49-F238E27FC236}">
                <a16:creationId xmlns:a16="http://schemas.microsoft.com/office/drawing/2014/main" id="{3730E0CA-2944-1FB6-EEF8-2D60C2884B96}"/>
              </a:ext>
            </a:extLst>
          </p:cNvPr>
          <p:cNvPicPr>
            <a:picLocks noChangeAspect="1"/>
          </p:cNvPicPr>
          <p:nvPr userDrawn="1"/>
        </p:nvPicPr>
        <p:blipFill>
          <a:blip r:embed="rId13"/>
          <a:stretch>
            <a:fillRect/>
          </a:stretch>
        </p:blipFill>
        <p:spPr bwMode="black">
          <a:xfrm>
            <a:off x="8515134" y="36133"/>
            <a:ext cx="599513" cy="320288"/>
          </a:xfrm>
          <a:prstGeom prst="rect">
            <a:avLst/>
          </a:prstGeom>
        </p:spPr>
      </p:pic>
    </p:spTree>
    <p:extLst>
      <p:ext uri="{BB962C8B-B14F-4D97-AF65-F5344CB8AC3E}">
        <p14:creationId xmlns:p14="http://schemas.microsoft.com/office/powerpoint/2010/main" val="179239903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1" r:id="rId3"/>
    <p:sldLayoutId id="2147483772" r:id="rId4"/>
    <p:sldLayoutId id="2147483774" r:id="rId5"/>
    <p:sldLayoutId id="2147483775" r:id="rId6"/>
    <p:sldLayoutId id="2147483776" r:id="rId7"/>
    <p:sldLayoutId id="2147483777" r:id="rId8"/>
  </p:sldLayoutIdLst>
  <p:hf hdr="0" dt="0"/>
  <p:txStyles>
    <p:titleStyle>
      <a:lvl1pPr algn="l" rtl="0" eaLnBrk="0" fontAlgn="base" hangingPunct="0">
        <a:lnSpc>
          <a:spcPct val="125000"/>
        </a:lnSpc>
        <a:spcBef>
          <a:spcPct val="0"/>
        </a:spcBef>
        <a:spcAft>
          <a:spcPct val="0"/>
        </a:spcAft>
        <a:defRPr sz="1847" b="0" kern="1200">
          <a:solidFill>
            <a:schemeClr val="tx1"/>
          </a:solidFill>
          <a:latin typeface="+mj-lt"/>
          <a:ea typeface="+mj-ea"/>
          <a:cs typeface="+mj-cs"/>
        </a:defRPr>
      </a:lvl1pPr>
      <a:lvl2pPr algn="l" rtl="0" eaLnBrk="0" fontAlgn="base" hangingPunct="0">
        <a:spcBef>
          <a:spcPct val="0"/>
        </a:spcBef>
        <a:spcAft>
          <a:spcPct val="0"/>
        </a:spcAft>
        <a:defRPr sz="1679" b="1">
          <a:solidFill>
            <a:schemeClr val="tx2"/>
          </a:solidFill>
          <a:latin typeface="Arial" charset="0"/>
          <a:cs typeface="Arial" charset="0"/>
        </a:defRPr>
      </a:lvl2pPr>
      <a:lvl3pPr algn="l" rtl="0" eaLnBrk="0" fontAlgn="base" hangingPunct="0">
        <a:spcBef>
          <a:spcPct val="0"/>
        </a:spcBef>
        <a:spcAft>
          <a:spcPct val="0"/>
        </a:spcAft>
        <a:defRPr sz="1679" b="1">
          <a:solidFill>
            <a:schemeClr val="tx2"/>
          </a:solidFill>
          <a:latin typeface="Arial" charset="0"/>
          <a:cs typeface="Arial" charset="0"/>
        </a:defRPr>
      </a:lvl3pPr>
      <a:lvl4pPr algn="l" rtl="0" eaLnBrk="0" fontAlgn="base" hangingPunct="0">
        <a:spcBef>
          <a:spcPct val="0"/>
        </a:spcBef>
        <a:spcAft>
          <a:spcPct val="0"/>
        </a:spcAft>
        <a:defRPr sz="1679" b="1">
          <a:solidFill>
            <a:schemeClr val="tx2"/>
          </a:solidFill>
          <a:latin typeface="Arial" charset="0"/>
          <a:cs typeface="Arial" charset="0"/>
        </a:defRPr>
      </a:lvl4pPr>
      <a:lvl5pPr algn="l" rtl="0" eaLnBrk="0" fontAlgn="base" hangingPunct="0">
        <a:spcBef>
          <a:spcPct val="0"/>
        </a:spcBef>
        <a:spcAft>
          <a:spcPct val="0"/>
        </a:spcAft>
        <a:defRPr sz="1679" b="1">
          <a:solidFill>
            <a:schemeClr val="tx2"/>
          </a:solidFill>
          <a:latin typeface="Arial" charset="0"/>
          <a:cs typeface="Arial" charset="0"/>
        </a:defRPr>
      </a:lvl5pPr>
      <a:lvl6pPr marL="383850" algn="l" rtl="0" fontAlgn="base">
        <a:spcBef>
          <a:spcPct val="0"/>
        </a:spcBef>
        <a:spcAft>
          <a:spcPct val="0"/>
        </a:spcAft>
        <a:defRPr sz="1679" b="1">
          <a:solidFill>
            <a:schemeClr val="tx2"/>
          </a:solidFill>
          <a:latin typeface="Arial" charset="0"/>
          <a:cs typeface="Arial" charset="0"/>
        </a:defRPr>
      </a:lvl6pPr>
      <a:lvl7pPr marL="767699" algn="l" rtl="0" fontAlgn="base">
        <a:spcBef>
          <a:spcPct val="0"/>
        </a:spcBef>
        <a:spcAft>
          <a:spcPct val="0"/>
        </a:spcAft>
        <a:defRPr sz="1679" b="1">
          <a:solidFill>
            <a:schemeClr val="tx2"/>
          </a:solidFill>
          <a:latin typeface="Arial" charset="0"/>
          <a:cs typeface="Arial" charset="0"/>
        </a:defRPr>
      </a:lvl7pPr>
      <a:lvl8pPr marL="1151549" algn="l" rtl="0" fontAlgn="base">
        <a:spcBef>
          <a:spcPct val="0"/>
        </a:spcBef>
        <a:spcAft>
          <a:spcPct val="0"/>
        </a:spcAft>
        <a:defRPr sz="1679" b="1">
          <a:solidFill>
            <a:schemeClr val="tx2"/>
          </a:solidFill>
          <a:latin typeface="Arial" charset="0"/>
          <a:cs typeface="Arial" charset="0"/>
        </a:defRPr>
      </a:lvl8pPr>
      <a:lvl9pPr marL="1535399" algn="l" rtl="0" fontAlgn="base">
        <a:spcBef>
          <a:spcPct val="0"/>
        </a:spcBef>
        <a:spcAft>
          <a:spcPct val="0"/>
        </a:spcAft>
        <a:defRPr sz="1679"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343" kern="1200">
          <a:solidFill>
            <a:schemeClr val="tx1"/>
          </a:solidFill>
          <a:latin typeface="+mn-lt"/>
          <a:ea typeface="+mn-ea"/>
          <a:cs typeface="+mn-cs"/>
        </a:defRPr>
      </a:lvl1pPr>
      <a:lvl2pPr marL="147943" indent="-147943" algn="l" rtl="0" eaLnBrk="0" fontAlgn="base" hangingPunct="0">
        <a:lnSpc>
          <a:spcPct val="100000"/>
        </a:lnSpc>
        <a:spcBef>
          <a:spcPct val="0"/>
        </a:spcBef>
        <a:spcAft>
          <a:spcPct val="0"/>
        </a:spcAft>
        <a:buFont typeface="Arial" charset="0"/>
        <a:buChar char="•"/>
        <a:defRPr sz="1343" kern="1200">
          <a:solidFill>
            <a:schemeClr val="tx1"/>
          </a:solidFill>
          <a:latin typeface="+mn-lt"/>
          <a:ea typeface="+mn-ea"/>
          <a:cs typeface="+mn-cs"/>
        </a:defRPr>
      </a:lvl2pPr>
      <a:lvl3pPr marL="302549" indent="-154606"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3pPr>
      <a:lvl4pPr marL="451824" indent="-149275"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4pPr>
      <a:lvl5pPr marL="599765" indent="-147943"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5pPr>
      <a:lvl6pPr marL="21111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6pPr>
      <a:lvl7pPr marL="24950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7pPr>
      <a:lvl8pPr marL="28788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8pPr>
      <a:lvl9pPr marL="32627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9pPr>
    </p:bodyStyle>
    <p:otherStyle>
      <a:defPPr>
        <a:defRPr lang="de-DE"/>
      </a:defPPr>
      <a:lvl1pPr marL="0" algn="l" defTabSz="767699" rtl="0" eaLnBrk="1" latinLnBrk="0" hangingPunct="1">
        <a:defRPr sz="1511" kern="1200">
          <a:solidFill>
            <a:schemeClr val="tx1"/>
          </a:solidFill>
          <a:latin typeface="+mn-lt"/>
          <a:ea typeface="+mn-ea"/>
          <a:cs typeface="+mn-cs"/>
        </a:defRPr>
      </a:lvl1pPr>
      <a:lvl2pPr marL="383850" algn="l" defTabSz="767699" rtl="0" eaLnBrk="1" latinLnBrk="0" hangingPunct="1">
        <a:defRPr sz="1511" kern="1200">
          <a:solidFill>
            <a:schemeClr val="tx1"/>
          </a:solidFill>
          <a:latin typeface="+mn-lt"/>
          <a:ea typeface="+mn-ea"/>
          <a:cs typeface="+mn-cs"/>
        </a:defRPr>
      </a:lvl2pPr>
      <a:lvl3pPr marL="767699" algn="l" defTabSz="767699" rtl="0" eaLnBrk="1" latinLnBrk="0" hangingPunct="1">
        <a:defRPr sz="1511" kern="1200">
          <a:solidFill>
            <a:schemeClr val="tx1"/>
          </a:solidFill>
          <a:latin typeface="+mn-lt"/>
          <a:ea typeface="+mn-ea"/>
          <a:cs typeface="+mn-cs"/>
        </a:defRPr>
      </a:lvl3pPr>
      <a:lvl4pPr marL="1151549" algn="l" defTabSz="767699" rtl="0" eaLnBrk="1" latinLnBrk="0" hangingPunct="1">
        <a:defRPr sz="1511" kern="1200">
          <a:solidFill>
            <a:schemeClr val="tx1"/>
          </a:solidFill>
          <a:latin typeface="+mn-lt"/>
          <a:ea typeface="+mn-ea"/>
          <a:cs typeface="+mn-cs"/>
        </a:defRPr>
      </a:lvl4pPr>
      <a:lvl5pPr marL="1535399" algn="l" defTabSz="767699" rtl="0" eaLnBrk="1" latinLnBrk="0" hangingPunct="1">
        <a:defRPr sz="1511" kern="1200">
          <a:solidFill>
            <a:schemeClr val="tx1"/>
          </a:solidFill>
          <a:latin typeface="+mn-lt"/>
          <a:ea typeface="+mn-ea"/>
          <a:cs typeface="+mn-cs"/>
        </a:defRPr>
      </a:lvl5pPr>
      <a:lvl6pPr marL="1919249" algn="l" defTabSz="767699" rtl="0" eaLnBrk="1" latinLnBrk="0" hangingPunct="1">
        <a:defRPr sz="1511" kern="1200">
          <a:solidFill>
            <a:schemeClr val="tx1"/>
          </a:solidFill>
          <a:latin typeface="+mn-lt"/>
          <a:ea typeface="+mn-ea"/>
          <a:cs typeface="+mn-cs"/>
        </a:defRPr>
      </a:lvl6pPr>
      <a:lvl7pPr marL="2303098" algn="l" defTabSz="767699" rtl="0" eaLnBrk="1" latinLnBrk="0" hangingPunct="1">
        <a:defRPr sz="1511" kern="1200">
          <a:solidFill>
            <a:schemeClr val="tx1"/>
          </a:solidFill>
          <a:latin typeface="+mn-lt"/>
          <a:ea typeface="+mn-ea"/>
          <a:cs typeface="+mn-cs"/>
        </a:defRPr>
      </a:lvl7pPr>
      <a:lvl8pPr marL="2686948" algn="l" defTabSz="767699" rtl="0" eaLnBrk="1" latinLnBrk="0" hangingPunct="1">
        <a:defRPr sz="1511" kern="1200">
          <a:solidFill>
            <a:schemeClr val="tx1"/>
          </a:solidFill>
          <a:latin typeface="+mn-lt"/>
          <a:ea typeface="+mn-ea"/>
          <a:cs typeface="+mn-cs"/>
        </a:defRPr>
      </a:lvl8pPr>
      <a:lvl9pPr marL="3070798" algn="l" defTabSz="767699" rtl="0" eaLnBrk="1" latinLnBrk="0" hangingPunct="1">
        <a:defRPr sz="151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347417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7" name="Bild 3" descr="20150416 tum logo blau png final.png">
            <a:extLst>
              <a:ext uri="{FF2B5EF4-FFF2-40B4-BE49-F238E27FC236}">
                <a16:creationId xmlns:a16="http://schemas.microsoft.com/office/drawing/2014/main" id="{3730E0CA-2944-1FB6-EEF8-2D60C2884B96}"/>
              </a:ext>
            </a:extLst>
          </p:cNvPr>
          <p:cNvPicPr>
            <a:picLocks noChangeAspect="1"/>
          </p:cNvPicPr>
          <p:nvPr userDrawn="1"/>
        </p:nvPicPr>
        <p:blipFill>
          <a:blip r:embed="rId6"/>
          <a:stretch>
            <a:fillRect/>
          </a:stretch>
        </p:blipFill>
        <p:spPr bwMode="black">
          <a:xfrm>
            <a:off x="8515134" y="36133"/>
            <a:ext cx="599513" cy="320288"/>
          </a:xfrm>
          <a:prstGeom prst="rect">
            <a:avLst/>
          </a:prstGeom>
        </p:spPr>
      </p:pic>
      <p:pic>
        <p:nvPicPr>
          <p:cNvPr id="2" name="Grafik 4">
            <a:extLst>
              <a:ext uri="{FF2B5EF4-FFF2-40B4-BE49-F238E27FC236}">
                <a16:creationId xmlns:a16="http://schemas.microsoft.com/office/drawing/2014/main" id="{72D23993-9A50-F02F-D787-F2BA43771A36}"/>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a:off x="29353" y="38070"/>
            <a:ext cx="1344612" cy="316414"/>
          </a:xfrm>
          <a:prstGeom prst="rect">
            <a:avLst/>
          </a:prstGeom>
        </p:spPr>
      </p:pic>
    </p:spTree>
    <p:extLst>
      <p:ext uri="{BB962C8B-B14F-4D97-AF65-F5344CB8AC3E}">
        <p14:creationId xmlns:p14="http://schemas.microsoft.com/office/powerpoint/2010/main" val="235313795"/>
      </p:ext>
    </p:extLst>
  </p:cSld>
  <p:clrMap bg1="lt1" tx1="dk1" bg2="lt2" tx2="dk2" accent1="accent1" accent2="accent2" accent3="accent3" accent4="accent4" accent5="accent5" accent6="accent6" hlink="hlink" folHlink="folHlink"/>
  <p:sldLayoutIdLst>
    <p:sldLayoutId id="2147483787" r:id="rId1"/>
  </p:sldLayoutIdLst>
  <p:hf hdr="0" dt="0"/>
  <p:txStyles>
    <p:titleStyle>
      <a:lvl1pPr algn="l" rtl="0" eaLnBrk="0" fontAlgn="base" hangingPunct="0">
        <a:lnSpc>
          <a:spcPct val="125000"/>
        </a:lnSpc>
        <a:spcBef>
          <a:spcPct val="0"/>
        </a:spcBef>
        <a:spcAft>
          <a:spcPct val="0"/>
        </a:spcAft>
        <a:defRPr sz="1847" b="0" kern="1200">
          <a:solidFill>
            <a:schemeClr val="tx1"/>
          </a:solidFill>
          <a:latin typeface="+mj-lt"/>
          <a:ea typeface="+mj-ea"/>
          <a:cs typeface="+mj-cs"/>
        </a:defRPr>
      </a:lvl1pPr>
      <a:lvl2pPr algn="l" rtl="0" eaLnBrk="0" fontAlgn="base" hangingPunct="0">
        <a:spcBef>
          <a:spcPct val="0"/>
        </a:spcBef>
        <a:spcAft>
          <a:spcPct val="0"/>
        </a:spcAft>
        <a:defRPr sz="1679" b="1">
          <a:solidFill>
            <a:schemeClr val="tx2"/>
          </a:solidFill>
          <a:latin typeface="Arial" charset="0"/>
          <a:cs typeface="Arial" charset="0"/>
        </a:defRPr>
      </a:lvl2pPr>
      <a:lvl3pPr algn="l" rtl="0" eaLnBrk="0" fontAlgn="base" hangingPunct="0">
        <a:spcBef>
          <a:spcPct val="0"/>
        </a:spcBef>
        <a:spcAft>
          <a:spcPct val="0"/>
        </a:spcAft>
        <a:defRPr sz="1679" b="1">
          <a:solidFill>
            <a:schemeClr val="tx2"/>
          </a:solidFill>
          <a:latin typeface="Arial" charset="0"/>
          <a:cs typeface="Arial" charset="0"/>
        </a:defRPr>
      </a:lvl3pPr>
      <a:lvl4pPr algn="l" rtl="0" eaLnBrk="0" fontAlgn="base" hangingPunct="0">
        <a:spcBef>
          <a:spcPct val="0"/>
        </a:spcBef>
        <a:spcAft>
          <a:spcPct val="0"/>
        </a:spcAft>
        <a:defRPr sz="1679" b="1">
          <a:solidFill>
            <a:schemeClr val="tx2"/>
          </a:solidFill>
          <a:latin typeface="Arial" charset="0"/>
          <a:cs typeface="Arial" charset="0"/>
        </a:defRPr>
      </a:lvl4pPr>
      <a:lvl5pPr algn="l" rtl="0" eaLnBrk="0" fontAlgn="base" hangingPunct="0">
        <a:spcBef>
          <a:spcPct val="0"/>
        </a:spcBef>
        <a:spcAft>
          <a:spcPct val="0"/>
        </a:spcAft>
        <a:defRPr sz="1679" b="1">
          <a:solidFill>
            <a:schemeClr val="tx2"/>
          </a:solidFill>
          <a:latin typeface="Arial" charset="0"/>
          <a:cs typeface="Arial" charset="0"/>
        </a:defRPr>
      </a:lvl5pPr>
      <a:lvl6pPr marL="383850" algn="l" rtl="0" fontAlgn="base">
        <a:spcBef>
          <a:spcPct val="0"/>
        </a:spcBef>
        <a:spcAft>
          <a:spcPct val="0"/>
        </a:spcAft>
        <a:defRPr sz="1679" b="1">
          <a:solidFill>
            <a:schemeClr val="tx2"/>
          </a:solidFill>
          <a:latin typeface="Arial" charset="0"/>
          <a:cs typeface="Arial" charset="0"/>
        </a:defRPr>
      </a:lvl6pPr>
      <a:lvl7pPr marL="767699" algn="l" rtl="0" fontAlgn="base">
        <a:spcBef>
          <a:spcPct val="0"/>
        </a:spcBef>
        <a:spcAft>
          <a:spcPct val="0"/>
        </a:spcAft>
        <a:defRPr sz="1679" b="1">
          <a:solidFill>
            <a:schemeClr val="tx2"/>
          </a:solidFill>
          <a:latin typeface="Arial" charset="0"/>
          <a:cs typeface="Arial" charset="0"/>
        </a:defRPr>
      </a:lvl7pPr>
      <a:lvl8pPr marL="1151549" algn="l" rtl="0" fontAlgn="base">
        <a:spcBef>
          <a:spcPct val="0"/>
        </a:spcBef>
        <a:spcAft>
          <a:spcPct val="0"/>
        </a:spcAft>
        <a:defRPr sz="1679" b="1">
          <a:solidFill>
            <a:schemeClr val="tx2"/>
          </a:solidFill>
          <a:latin typeface="Arial" charset="0"/>
          <a:cs typeface="Arial" charset="0"/>
        </a:defRPr>
      </a:lvl8pPr>
      <a:lvl9pPr marL="1535399" algn="l" rtl="0" fontAlgn="base">
        <a:spcBef>
          <a:spcPct val="0"/>
        </a:spcBef>
        <a:spcAft>
          <a:spcPct val="0"/>
        </a:spcAft>
        <a:defRPr sz="1679"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343" kern="1200">
          <a:solidFill>
            <a:schemeClr val="tx1"/>
          </a:solidFill>
          <a:latin typeface="+mn-lt"/>
          <a:ea typeface="+mn-ea"/>
          <a:cs typeface="+mn-cs"/>
        </a:defRPr>
      </a:lvl1pPr>
      <a:lvl2pPr marL="147943" indent="-147943" algn="l" rtl="0" eaLnBrk="0" fontAlgn="base" hangingPunct="0">
        <a:lnSpc>
          <a:spcPct val="100000"/>
        </a:lnSpc>
        <a:spcBef>
          <a:spcPct val="0"/>
        </a:spcBef>
        <a:spcAft>
          <a:spcPct val="0"/>
        </a:spcAft>
        <a:buFont typeface="Arial" charset="0"/>
        <a:buChar char="•"/>
        <a:defRPr sz="1343" kern="1200">
          <a:solidFill>
            <a:schemeClr val="tx1"/>
          </a:solidFill>
          <a:latin typeface="+mn-lt"/>
          <a:ea typeface="+mn-ea"/>
          <a:cs typeface="+mn-cs"/>
        </a:defRPr>
      </a:lvl2pPr>
      <a:lvl3pPr marL="302549" indent="-154606"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3pPr>
      <a:lvl4pPr marL="451824" indent="-149275"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4pPr>
      <a:lvl5pPr marL="599765" indent="-147943" algn="l" rtl="0" eaLnBrk="0" fontAlgn="base" hangingPunct="0">
        <a:lnSpc>
          <a:spcPct val="125000"/>
        </a:lnSpc>
        <a:spcBef>
          <a:spcPct val="0"/>
        </a:spcBef>
        <a:spcAft>
          <a:spcPct val="0"/>
        </a:spcAft>
        <a:buFont typeface="Symbol" pitchFamily="18" charset="2"/>
        <a:buChar char="-"/>
        <a:defRPr sz="1175" kern="1200">
          <a:solidFill>
            <a:schemeClr val="tx1"/>
          </a:solidFill>
          <a:latin typeface="+mn-lt"/>
          <a:ea typeface="+mn-ea"/>
          <a:cs typeface="+mn-cs"/>
        </a:defRPr>
      </a:lvl5pPr>
      <a:lvl6pPr marL="21111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6pPr>
      <a:lvl7pPr marL="24950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7pPr>
      <a:lvl8pPr marL="287887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8pPr>
      <a:lvl9pPr marL="3262723" indent="-191925" algn="l" defTabSz="767699" rtl="0" eaLnBrk="1" latinLnBrk="0" hangingPunct="1">
        <a:spcBef>
          <a:spcPct val="20000"/>
        </a:spcBef>
        <a:buFont typeface="Arial" pitchFamily="34" charset="0"/>
        <a:buChar char="•"/>
        <a:defRPr sz="1679" kern="1200">
          <a:solidFill>
            <a:schemeClr val="tx1"/>
          </a:solidFill>
          <a:latin typeface="+mn-lt"/>
          <a:ea typeface="+mn-ea"/>
          <a:cs typeface="+mn-cs"/>
        </a:defRPr>
      </a:lvl9pPr>
    </p:bodyStyle>
    <p:otherStyle>
      <a:defPPr>
        <a:defRPr lang="de-DE"/>
      </a:defPPr>
      <a:lvl1pPr marL="0" algn="l" defTabSz="767699" rtl="0" eaLnBrk="1" latinLnBrk="0" hangingPunct="1">
        <a:defRPr sz="1511" kern="1200">
          <a:solidFill>
            <a:schemeClr val="tx1"/>
          </a:solidFill>
          <a:latin typeface="+mn-lt"/>
          <a:ea typeface="+mn-ea"/>
          <a:cs typeface="+mn-cs"/>
        </a:defRPr>
      </a:lvl1pPr>
      <a:lvl2pPr marL="383850" algn="l" defTabSz="767699" rtl="0" eaLnBrk="1" latinLnBrk="0" hangingPunct="1">
        <a:defRPr sz="1511" kern="1200">
          <a:solidFill>
            <a:schemeClr val="tx1"/>
          </a:solidFill>
          <a:latin typeface="+mn-lt"/>
          <a:ea typeface="+mn-ea"/>
          <a:cs typeface="+mn-cs"/>
        </a:defRPr>
      </a:lvl2pPr>
      <a:lvl3pPr marL="767699" algn="l" defTabSz="767699" rtl="0" eaLnBrk="1" latinLnBrk="0" hangingPunct="1">
        <a:defRPr sz="1511" kern="1200">
          <a:solidFill>
            <a:schemeClr val="tx1"/>
          </a:solidFill>
          <a:latin typeface="+mn-lt"/>
          <a:ea typeface="+mn-ea"/>
          <a:cs typeface="+mn-cs"/>
        </a:defRPr>
      </a:lvl3pPr>
      <a:lvl4pPr marL="1151549" algn="l" defTabSz="767699" rtl="0" eaLnBrk="1" latinLnBrk="0" hangingPunct="1">
        <a:defRPr sz="1511" kern="1200">
          <a:solidFill>
            <a:schemeClr val="tx1"/>
          </a:solidFill>
          <a:latin typeface="+mn-lt"/>
          <a:ea typeface="+mn-ea"/>
          <a:cs typeface="+mn-cs"/>
        </a:defRPr>
      </a:lvl4pPr>
      <a:lvl5pPr marL="1535399" algn="l" defTabSz="767699" rtl="0" eaLnBrk="1" latinLnBrk="0" hangingPunct="1">
        <a:defRPr sz="1511" kern="1200">
          <a:solidFill>
            <a:schemeClr val="tx1"/>
          </a:solidFill>
          <a:latin typeface="+mn-lt"/>
          <a:ea typeface="+mn-ea"/>
          <a:cs typeface="+mn-cs"/>
        </a:defRPr>
      </a:lvl5pPr>
      <a:lvl6pPr marL="1919249" algn="l" defTabSz="767699" rtl="0" eaLnBrk="1" latinLnBrk="0" hangingPunct="1">
        <a:defRPr sz="1511" kern="1200">
          <a:solidFill>
            <a:schemeClr val="tx1"/>
          </a:solidFill>
          <a:latin typeface="+mn-lt"/>
          <a:ea typeface="+mn-ea"/>
          <a:cs typeface="+mn-cs"/>
        </a:defRPr>
      </a:lvl6pPr>
      <a:lvl7pPr marL="2303098" algn="l" defTabSz="767699" rtl="0" eaLnBrk="1" latinLnBrk="0" hangingPunct="1">
        <a:defRPr sz="1511" kern="1200">
          <a:solidFill>
            <a:schemeClr val="tx1"/>
          </a:solidFill>
          <a:latin typeface="+mn-lt"/>
          <a:ea typeface="+mn-ea"/>
          <a:cs typeface="+mn-cs"/>
        </a:defRPr>
      </a:lvl7pPr>
      <a:lvl8pPr marL="2686948" algn="l" defTabSz="767699" rtl="0" eaLnBrk="1" latinLnBrk="0" hangingPunct="1">
        <a:defRPr sz="1511" kern="1200">
          <a:solidFill>
            <a:schemeClr val="tx1"/>
          </a:solidFill>
          <a:latin typeface="+mn-lt"/>
          <a:ea typeface="+mn-ea"/>
          <a:cs typeface="+mn-cs"/>
        </a:defRPr>
      </a:lvl8pPr>
      <a:lvl9pPr marL="3070798" algn="l" defTabSz="767699" rtl="0" eaLnBrk="1" latinLnBrk="0" hangingPunct="1">
        <a:defRPr sz="151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6.xml"/><Relationship Id="rId6" Type="http://schemas.openxmlformats.org/officeDocument/2006/relationships/image" Target="../media/image55.jpg"/><Relationship Id="rId5" Type="http://schemas.openxmlformats.org/officeDocument/2006/relationships/image" Target="../media/image54.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 Target="slide11.xml"/><Relationship Id="rId7" Type="http://schemas.openxmlformats.org/officeDocument/2006/relationships/slide" Target="slide6.xml"/><Relationship Id="rId2" Type="http://schemas.openxmlformats.org/officeDocument/2006/relationships/slide" Target="slide12.xml"/><Relationship Id="rId1" Type="http://schemas.openxmlformats.org/officeDocument/2006/relationships/slideLayout" Target="../slideLayouts/slideLayout10.xml"/><Relationship Id="rId6" Type="http://schemas.openxmlformats.org/officeDocument/2006/relationships/slide" Target="slide5.xml"/><Relationship Id="rId11" Type="http://schemas.openxmlformats.org/officeDocument/2006/relationships/slide" Target="slide10.xml"/><Relationship Id="rId5" Type="http://schemas.openxmlformats.org/officeDocument/2006/relationships/slide" Target="slide4.xml"/><Relationship Id="rId10" Type="http://schemas.openxmlformats.org/officeDocument/2006/relationships/slide" Target="slide9.xml"/><Relationship Id="rId4" Type="http://schemas.openxmlformats.org/officeDocument/2006/relationships/slide" Target="slide3.xml"/><Relationship Id="rId9" Type="http://schemas.openxmlformats.org/officeDocument/2006/relationships/slide" Target="slide8.xml"/></Relationships>
</file>

<file path=ppt/slides/_rels/slide11.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12" Type="http://schemas.openxmlformats.org/officeDocument/2006/relationships/chart" Target="../charts/chart1.xml"/><Relationship Id="rId2" Type="http://schemas.openxmlformats.org/officeDocument/2006/relationships/slide" Target="slide12.xml"/><Relationship Id="rId1" Type="http://schemas.openxmlformats.org/officeDocument/2006/relationships/slideLayout" Target="../slideLayouts/slideLayout11.xml"/><Relationship Id="rId6" Type="http://schemas.openxmlformats.org/officeDocument/2006/relationships/slide" Target="slide6.xml"/><Relationship Id="rId11" Type="http://schemas.openxmlformats.org/officeDocument/2006/relationships/slide" Target="slide11.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12.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slide" Target="slide4.xml"/><Relationship Id="rId7"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12.xml"/><Relationship Id="rId6" Type="http://schemas.openxmlformats.org/officeDocument/2006/relationships/slide" Target="slide7.xml"/><Relationship Id="rId11" Type="http://schemas.openxmlformats.org/officeDocument/2006/relationships/slide" Target="slide12.xml"/><Relationship Id="rId5" Type="http://schemas.openxmlformats.org/officeDocument/2006/relationships/slide" Target="slide6.xml"/><Relationship Id="rId10" Type="http://schemas.openxmlformats.org/officeDocument/2006/relationships/slide" Target="slide11.xml"/><Relationship Id="rId4" Type="http://schemas.openxmlformats.org/officeDocument/2006/relationships/slide" Target="slide5.xml"/><Relationship Id="rId9" Type="http://schemas.openxmlformats.org/officeDocument/2006/relationships/slide" Target="slide10.xml"/></Relationships>
</file>

<file path=ppt/slides/_rels/slide13.xml.rels><?xml version="1.0" encoding="UTF-8" standalone="yes"?>
<Relationships xmlns="http://schemas.openxmlformats.org/package/2006/relationships"><Relationship Id="rId8" Type="http://schemas.openxmlformats.org/officeDocument/2006/relationships/slide" Target="slide20.xml"/><Relationship Id="rId13" Type="http://schemas.openxmlformats.org/officeDocument/2006/relationships/slide" Target="slide15.xml"/><Relationship Id="rId3" Type="http://schemas.openxmlformats.org/officeDocument/2006/relationships/tags" Target="../tags/tag15.xml"/><Relationship Id="rId7" Type="http://schemas.openxmlformats.org/officeDocument/2006/relationships/slideLayout" Target="../slideLayouts/slideLayout13.xml"/><Relationship Id="rId12" Type="http://schemas.openxmlformats.org/officeDocument/2006/relationships/slide" Target="slide16.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 Target="slide17.xml"/><Relationship Id="rId5" Type="http://schemas.openxmlformats.org/officeDocument/2006/relationships/tags" Target="../tags/tag17.xml"/><Relationship Id="rId15" Type="http://schemas.openxmlformats.org/officeDocument/2006/relationships/slide" Target="slide13.xml"/><Relationship Id="rId10" Type="http://schemas.openxmlformats.org/officeDocument/2006/relationships/slide" Target="slide18.xml"/><Relationship Id="rId4" Type="http://schemas.openxmlformats.org/officeDocument/2006/relationships/tags" Target="../tags/tag16.xml"/><Relationship Id="rId9" Type="http://schemas.openxmlformats.org/officeDocument/2006/relationships/slide" Target="slide19.xml"/><Relationship Id="rId14" Type="http://schemas.openxmlformats.org/officeDocument/2006/relationships/slide" Target="slide14.xml"/></Relationships>
</file>

<file path=ppt/slides/_rels/slide14.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slide" Target="slide19.xml"/><Relationship Id="rId7" Type="http://schemas.openxmlformats.org/officeDocument/2006/relationships/slide" Target="slide15.xml"/><Relationship Id="rId2" Type="http://schemas.openxmlformats.org/officeDocument/2006/relationships/slide" Target="slide20.xml"/><Relationship Id="rId1" Type="http://schemas.openxmlformats.org/officeDocument/2006/relationships/slideLayout" Target="../slideLayouts/slideLayout14.xml"/><Relationship Id="rId6" Type="http://schemas.openxmlformats.org/officeDocument/2006/relationships/slide" Target="slide16.xml"/><Relationship Id="rId5" Type="http://schemas.openxmlformats.org/officeDocument/2006/relationships/slide" Target="slide17.xml"/><Relationship Id="rId4" Type="http://schemas.openxmlformats.org/officeDocument/2006/relationships/slide" Target="slide18.xml"/><Relationship Id="rId9" Type="http://schemas.openxmlformats.org/officeDocument/2006/relationships/slide" Target="slide14.xml"/></Relationships>
</file>

<file path=ppt/slides/_rels/slide15.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slide" Target="slide19.xml"/><Relationship Id="rId7" Type="http://schemas.openxmlformats.org/officeDocument/2006/relationships/slide" Target="slide13.xml"/><Relationship Id="rId2" Type="http://schemas.openxmlformats.org/officeDocument/2006/relationships/slide" Target="slide20.xml"/><Relationship Id="rId1" Type="http://schemas.openxmlformats.org/officeDocument/2006/relationships/slideLayout" Target="../slideLayouts/slideLayout15.xml"/><Relationship Id="rId6" Type="http://schemas.openxmlformats.org/officeDocument/2006/relationships/slide" Target="slide16.xml"/><Relationship Id="rId5" Type="http://schemas.openxmlformats.org/officeDocument/2006/relationships/slide" Target="slide17.xml"/><Relationship Id="rId4" Type="http://schemas.openxmlformats.org/officeDocument/2006/relationships/slide" Target="slide18.xml"/><Relationship Id="rId9" Type="http://schemas.openxmlformats.org/officeDocument/2006/relationships/slide" Target="slide15.xml"/></Relationships>
</file>

<file path=ppt/slides/_rels/slide16.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 Target="slide19.xml"/><Relationship Id="rId7" Type="http://schemas.openxmlformats.org/officeDocument/2006/relationships/slide" Target="slide14.xml"/><Relationship Id="rId2" Type="http://schemas.openxmlformats.org/officeDocument/2006/relationships/slide" Target="slide20.xml"/><Relationship Id="rId1" Type="http://schemas.openxmlformats.org/officeDocument/2006/relationships/slideLayout" Target="../slideLayouts/slideLayout16.xml"/><Relationship Id="rId6" Type="http://schemas.openxmlformats.org/officeDocument/2006/relationships/slide" Target="slide13.xml"/><Relationship Id="rId5" Type="http://schemas.openxmlformats.org/officeDocument/2006/relationships/slide" Target="slide17.xml"/><Relationship Id="rId4" Type="http://schemas.openxmlformats.org/officeDocument/2006/relationships/slide" Target="slide18.xml"/><Relationship Id="rId9" Type="http://schemas.openxmlformats.org/officeDocument/2006/relationships/slide" Target="slide16.xml"/></Relationships>
</file>

<file path=ppt/slides/_rels/slide17.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slide" Target="slide19.xml"/><Relationship Id="rId7" Type="http://schemas.openxmlformats.org/officeDocument/2006/relationships/slide" Target="slide15.xml"/><Relationship Id="rId2" Type="http://schemas.openxmlformats.org/officeDocument/2006/relationships/slide" Target="slide20.xml"/><Relationship Id="rId1" Type="http://schemas.openxmlformats.org/officeDocument/2006/relationships/slideLayout" Target="../slideLayouts/slideLayout17.xml"/><Relationship Id="rId6" Type="http://schemas.openxmlformats.org/officeDocument/2006/relationships/slide" Target="slide14.xml"/><Relationship Id="rId5" Type="http://schemas.openxmlformats.org/officeDocument/2006/relationships/slide" Target="slide13.xml"/><Relationship Id="rId4" Type="http://schemas.openxmlformats.org/officeDocument/2006/relationships/slide" Target="slide18.xml"/><Relationship Id="rId9" Type="http://schemas.openxmlformats.org/officeDocument/2006/relationships/slide" Target="slide17.xml"/></Relationships>
</file>

<file path=ppt/slides/_rels/slide18.xml.rels><?xml version="1.0" encoding="UTF-8" standalone="yes"?>
<Relationships xmlns="http://schemas.openxmlformats.org/package/2006/relationships"><Relationship Id="rId8" Type="http://schemas.openxmlformats.org/officeDocument/2006/relationships/slide" Target="slide17.xml"/><Relationship Id="rId3" Type="http://schemas.openxmlformats.org/officeDocument/2006/relationships/slide" Target="slide19.xml"/><Relationship Id="rId7" Type="http://schemas.openxmlformats.org/officeDocument/2006/relationships/slide" Target="slide16.xml"/><Relationship Id="rId2" Type="http://schemas.openxmlformats.org/officeDocument/2006/relationships/slide" Target="slide20.xml"/><Relationship Id="rId1" Type="http://schemas.openxmlformats.org/officeDocument/2006/relationships/slideLayout" Target="../slideLayouts/slideLayout18.xml"/><Relationship Id="rId6" Type="http://schemas.openxmlformats.org/officeDocument/2006/relationships/slide" Target="slide15.xml"/><Relationship Id="rId5" Type="http://schemas.openxmlformats.org/officeDocument/2006/relationships/slide" Target="slide14.xml"/><Relationship Id="rId4" Type="http://schemas.openxmlformats.org/officeDocument/2006/relationships/slide" Target="slide13.xml"/><Relationship Id="rId9" Type="http://schemas.openxmlformats.org/officeDocument/2006/relationships/slide" Target="slide18.xml"/></Relationships>
</file>

<file path=ppt/slides/_rels/slide19.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13.xml"/><Relationship Id="rId7" Type="http://schemas.openxmlformats.org/officeDocument/2006/relationships/slide" Target="slide17.xml"/><Relationship Id="rId2" Type="http://schemas.openxmlformats.org/officeDocument/2006/relationships/slide" Target="slide20.xml"/><Relationship Id="rId1" Type="http://schemas.openxmlformats.org/officeDocument/2006/relationships/slideLayout" Target="../slideLayouts/slideLayout19.xml"/><Relationship Id="rId6" Type="http://schemas.openxmlformats.org/officeDocument/2006/relationships/slide" Target="slide16.xml"/><Relationship Id="rId5" Type="http://schemas.openxmlformats.org/officeDocument/2006/relationships/slide" Target="slide15.xml"/><Relationship Id="rId10" Type="http://schemas.openxmlformats.org/officeDocument/2006/relationships/chart" Target="../charts/chart2.xml"/><Relationship Id="rId4" Type="http://schemas.openxmlformats.org/officeDocument/2006/relationships/slide" Target="slide14.xml"/><Relationship Id="rId9" Type="http://schemas.openxmlformats.org/officeDocument/2006/relationships/slide" Target="slide19.xml"/></Relationships>
</file>

<file path=ppt/slides/_rels/slide2.xml.rels><?xml version="1.0" encoding="UTF-8" standalone="yes"?>
<Relationships xmlns="http://schemas.openxmlformats.org/package/2006/relationships"><Relationship Id="rId3" Type="http://schemas.openxmlformats.org/officeDocument/2006/relationships/hyperlink" Target="https://doi.org/10.3390/su131810155" TargetMode="External"/><Relationship Id="rId2" Type="http://schemas.openxmlformats.org/officeDocument/2006/relationships/hyperlink" Target="https://doi.org/10.1017/dsd.2020.23" TargetMode="External"/><Relationship Id="rId1" Type="http://schemas.openxmlformats.org/officeDocument/2006/relationships/slideLayout" Target="../slideLayouts/slideLayout21.xml"/><Relationship Id="rId4" Type="http://schemas.openxmlformats.org/officeDocument/2006/relationships/hyperlink" Target="https://doi.org/10.13140/RG.2.2.34190.23365" TargetMode="External"/></Relationships>
</file>

<file path=ppt/slides/_rels/slide20.xml.rels><?xml version="1.0" encoding="UTF-8" standalone="yes"?>
<Relationships xmlns="http://schemas.openxmlformats.org/package/2006/relationships"><Relationship Id="rId8" Type="http://schemas.openxmlformats.org/officeDocument/2006/relationships/slide" Target="slide19.xml"/><Relationship Id="rId3" Type="http://schemas.openxmlformats.org/officeDocument/2006/relationships/slide" Target="slide14.xml"/><Relationship Id="rId7" Type="http://schemas.openxmlformats.org/officeDocument/2006/relationships/slide" Target="slide18.xml"/><Relationship Id="rId2" Type="http://schemas.openxmlformats.org/officeDocument/2006/relationships/slide" Target="slide13.xml"/><Relationship Id="rId1" Type="http://schemas.openxmlformats.org/officeDocument/2006/relationships/slideLayout" Target="../slideLayouts/slideLayout20.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 Id="rId9" Type="http://schemas.openxmlformats.org/officeDocument/2006/relationships/slide" Target="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hyperlink" Target="mailto:Jakob.trauer@tum.de" TargetMode="External"/><Relationship Id="rId7"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hyperlink" Target="http://www.linkedin.com/in/jakob-trauer" TargetMode="External"/><Relationship Id="rId9" Type="http://schemas.openxmlformats.org/officeDocument/2006/relationships/image" Target="../media/image61.png"/></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slide" Target="slide7.xml"/><Relationship Id="rId3" Type="http://schemas.openxmlformats.org/officeDocument/2006/relationships/tags" Target="../tags/tag9.xml"/><Relationship Id="rId7" Type="http://schemas.openxmlformats.org/officeDocument/2006/relationships/slideLayout" Target="../slideLayouts/slideLayout3.xml"/><Relationship Id="rId12" Type="http://schemas.openxmlformats.org/officeDocument/2006/relationships/slide" Target="slide8.xml"/><Relationship Id="rId17" Type="http://schemas.openxmlformats.org/officeDocument/2006/relationships/slide" Target="slide3.xml"/><Relationship Id="rId2" Type="http://schemas.openxmlformats.org/officeDocument/2006/relationships/tags" Target="../tags/tag8.xml"/><Relationship Id="rId16" Type="http://schemas.openxmlformats.org/officeDocument/2006/relationships/slide" Target="slide4.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 Target="slide9.xml"/><Relationship Id="rId5" Type="http://schemas.openxmlformats.org/officeDocument/2006/relationships/tags" Target="../tags/tag11.xml"/><Relationship Id="rId15" Type="http://schemas.openxmlformats.org/officeDocument/2006/relationships/slide" Target="slide5.xml"/><Relationship Id="rId10" Type="http://schemas.openxmlformats.org/officeDocument/2006/relationships/slide" Target="slide10.xml"/><Relationship Id="rId4" Type="http://schemas.openxmlformats.org/officeDocument/2006/relationships/tags" Target="../tags/tag10.xml"/><Relationship Id="rId9" Type="http://schemas.openxmlformats.org/officeDocument/2006/relationships/slide" Target="slide11.xml"/><Relationship Id="rId14" Type="http://schemas.openxmlformats.org/officeDocument/2006/relationships/slide" Target="slide6.xml"/></Relationships>
</file>

<file path=ppt/slides/_rels/slide4.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 Target="slide11.xml"/><Relationship Id="rId7" Type="http://schemas.openxmlformats.org/officeDocument/2006/relationships/slide" Target="slide7.xml"/><Relationship Id="rId2" Type="http://schemas.openxmlformats.org/officeDocument/2006/relationships/slide" Target="slide12.xml"/><Relationship Id="rId1" Type="http://schemas.openxmlformats.org/officeDocument/2006/relationships/slideLayout" Target="../slideLayouts/slideLayout4.xml"/><Relationship Id="rId6" Type="http://schemas.openxmlformats.org/officeDocument/2006/relationships/slide" Target="slide8.xml"/><Relationship Id="rId11" Type="http://schemas.openxmlformats.org/officeDocument/2006/relationships/slide" Target="slide4.xml"/><Relationship Id="rId5" Type="http://schemas.openxmlformats.org/officeDocument/2006/relationships/slide" Target="slide9.xml"/><Relationship Id="rId10" Type="http://schemas.openxmlformats.org/officeDocument/2006/relationships/slide" Target="slide3.xml"/><Relationship Id="rId4" Type="http://schemas.openxmlformats.org/officeDocument/2006/relationships/slide" Target="slide10.xml"/><Relationship Id="rId9" Type="http://schemas.openxmlformats.org/officeDocument/2006/relationships/slide" Target="slide5.xml"/></Relationships>
</file>

<file path=ppt/slides/_rels/slide5.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 Target="slide11.xml"/><Relationship Id="rId7" Type="http://schemas.openxmlformats.org/officeDocument/2006/relationships/slide" Target="slide7.xml"/><Relationship Id="rId2" Type="http://schemas.openxmlformats.org/officeDocument/2006/relationships/slide" Target="slide12.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5.xml"/><Relationship Id="rId5" Type="http://schemas.openxmlformats.org/officeDocument/2006/relationships/slide" Target="slide9.xml"/><Relationship Id="rId10" Type="http://schemas.openxmlformats.org/officeDocument/2006/relationships/slide" Target="slide4.xml"/><Relationship Id="rId4" Type="http://schemas.openxmlformats.org/officeDocument/2006/relationships/slide" Target="slide10.xml"/><Relationship Id="rId9" Type="http://schemas.openxmlformats.org/officeDocument/2006/relationships/slide" Target="slide3.xml"/></Relationships>
</file>

<file path=ppt/slides/_rels/slide6.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slide" Target="slide11.xml"/><Relationship Id="rId7" Type="http://schemas.openxmlformats.org/officeDocument/2006/relationships/slide" Target="slide7.xml"/><Relationship Id="rId2" Type="http://schemas.openxmlformats.org/officeDocument/2006/relationships/slide" Target="slide12.xml"/><Relationship Id="rId1" Type="http://schemas.openxmlformats.org/officeDocument/2006/relationships/slideLayout" Target="../slideLayouts/slideLayout6.xml"/><Relationship Id="rId6" Type="http://schemas.openxmlformats.org/officeDocument/2006/relationships/slide" Target="slide8.xml"/><Relationship Id="rId11" Type="http://schemas.openxmlformats.org/officeDocument/2006/relationships/slide" Target="slide6.xml"/><Relationship Id="rId5" Type="http://schemas.openxmlformats.org/officeDocument/2006/relationships/slide" Target="slide9.xml"/><Relationship Id="rId10" Type="http://schemas.openxmlformats.org/officeDocument/2006/relationships/slide" Target="slide5.xml"/><Relationship Id="rId4" Type="http://schemas.openxmlformats.org/officeDocument/2006/relationships/slide" Target="slide10.xml"/><Relationship Id="rId9" Type="http://schemas.openxmlformats.org/officeDocument/2006/relationships/slide" Target="slide4.xml"/></Relationships>
</file>

<file path=ppt/slides/_rels/slide7.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 Target="slide11.xml"/><Relationship Id="rId7" Type="http://schemas.openxmlformats.org/officeDocument/2006/relationships/slide" Target="slide3.xml"/><Relationship Id="rId2" Type="http://schemas.openxmlformats.org/officeDocument/2006/relationships/slide" Target="slide12.xml"/><Relationship Id="rId1" Type="http://schemas.openxmlformats.org/officeDocument/2006/relationships/slideLayout" Target="../slideLayouts/slideLayout7.xml"/><Relationship Id="rId6" Type="http://schemas.openxmlformats.org/officeDocument/2006/relationships/slide" Target="slide8.xml"/><Relationship Id="rId11" Type="http://schemas.openxmlformats.org/officeDocument/2006/relationships/slide" Target="slide7.xml"/><Relationship Id="rId5" Type="http://schemas.openxmlformats.org/officeDocument/2006/relationships/slide" Target="slide9.xml"/><Relationship Id="rId10" Type="http://schemas.openxmlformats.org/officeDocument/2006/relationships/slide" Target="slide6.xml"/><Relationship Id="rId4" Type="http://schemas.openxmlformats.org/officeDocument/2006/relationships/slide" Target="slide10.xml"/><Relationship Id="rId9" Type="http://schemas.openxmlformats.org/officeDocument/2006/relationships/slide" Target="slide5.xml"/></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 Target="slide11.xml"/><Relationship Id="rId7" Type="http://schemas.openxmlformats.org/officeDocument/2006/relationships/slide" Target="slide4.xml"/><Relationship Id="rId2" Type="http://schemas.openxmlformats.org/officeDocument/2006/relationships/slide" Target="slide12.xml"/><Relationship Id="rId1" Type="http://schemas.openxmlformats.org/officeDocument/2006/relationships/slideLayout" Target="../slideLayouts/slideLayout8.xml"/><Relationship Id="rId6" Type="http://schemas.openxmlformats.org/officeDocument/2006/relationships/slide" Target="slide3.xml"/><Relationship Id="rId11" Type="http://schemas.openxmlformats.org/officeDocument/2006/relationships/slide" Target="slide8.xml"/><Relationship Id="rId5" Type="http://schemas.openxmlformats.org/officeDocument/2006/relationships/slide" Target="slide9.xml"/><Relationship Id="rId10" Type="http://schemas.openxmlformats.org/officeDocument/2006/relationships/slide" Target="slide7.xml"/><Relationship Id="rId4" Type="http://schemas.openxmlformats.org/officeDocument/2006/relationships/slide" Target="slide10.xml"/><Relationship Id="rId9" Type="http://schemas.openxmlformats.org/officeDocument/2006/relationships/slide" Target="slide6.xml"/></Relationships>
</file>

<file path=ppt/slides/_rels/slide9.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 Target="slide11.xml"/><Relationship Id="rId7" Type="http://schemas.openxmlformats.org/officeDocument/2006/relationships/slide" Target="slide5.xml"/><Relationship Id="rId2" Type="http://schemas.openxmlformats.org/officeDocument/2006/relationships/slide" Target="slide12.xml"/><Relationship Id="rId1" Type="http://schemas.openxmlformats.org/officeDocument/2006/relationships/slideLayout" Target="../slideLayouts/slideLayout9.xml"/><Relationship Id="rId6" Type="http://schemas.openxmlformats.org/officeDocument/2006/relationships/slide" Target="slide4.xml"/><Relationship Id="rId11" Type="http://schemas.openxmlformats.org/officeDocument/2006/relationships/slide" Target="slide9.xml"/><Relationship Id="rId5" Type="http://schemas.openxmlformats.org/officeDocument/2006/relationships/slide" Target="slide3.xml"/><Relationship Id="rId10" Type="http://schemas.openxmlformats.org/officeDocument/2006/relationships/slide" Target="slide8.xml"/><Relationship Id="rId4" Type="http://schemas.openxmlformats.org/officeDocument/2006/relationships/slide" Target="slide10.xml"/><Relationship Id="rId9" Type="http://schemas.openxmlformats.org/officeDocument/2006/relationships/slide" Target="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p:cNvGraphicFramePr>
            <a:graphicFrameLocks noChangeAspect="1"/>
          </p:cNvGraphicFramePr>
          <p:nvPr>
            <p:custDataLst>
              <p:tags r:id="rId1"/>
            </p:custDataLst>
            <p:extLst>
              <p:ext uri="{D42A27DB-BD31-4B8C-83A1-F6EECF244321}">
                <p14:modId xmlns:p14="http://schemas.microsoft.com/office/powerpoint/2010/main" val="1615079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kt 4"/>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idx="4294967295"/>
          </p:nvPr>
        </p:nvSpPr>
        <p:spPr>
          <a:xfrm>
            <a:off x="0" y="-403225"/>
            <a:ext cx="7886700" cy="395287"/>
          </a:xfrm>
          <a:prstGeom prst="rect">
            <a:avLst/>
          </a:prstGeom>
        </p:spPr>
        <p:txBody>
          <a:bodyPr vert="horz"/>
          <a:lstStyle/>
          <a:p>
            <a:r>
              <a:rPr lang="en-US" b="1" dirty="0"/>
              <a:t>Title</a:t>
            </a:r>
          </a:p>
        </p:txBody>
      </p:sp>
      <p:pic>
        <p:nvPicPr>
          <p:cNvPr id="11" name="Picture 10" descr="An abstract circuit line pattern">
            <a:extLst>
              <a:ext uri="{FF2B5EF4-FFF2-40B4-BE49-F238E27FC236}">
                <a16:creationId xmlns:a16="http://schemas.microsoft.com/office/drawing/2014/main" id="{353D4C4F-A576-D748-0D18-6FFA7C89A045}"/>
              </a:ext>
            </a:extLst>
          </p:cNvPr>
          <p:cNvPicPr>
            <a:picLocks noChangeAspect="1"/>
          </p:cNvPicPr>
          <p:nvPr/>
        </p:nvPicPr>
        <p:blipFill>
          <a:blip r:embed="rId6"/>
          <a:srcRect t="10674" b="10674"/>
          <a:stretch/>
        </p:blipFill>
        <p:spPr>
          <a:xfrm>
            <a:off x="0" y="356135"/>
            <a:ext cx="9127047" cy="4785778"/>
          </a:xfrm>
          <a:prstGeom prst="rect">
            <a:avLst/>
          </a:prstGeom>
        </p:spPr>
      </p:pic>
      <p:sp>
        <p:nvSpPr>
          <p:cNvPr id="15" name="Freeform: Shape 14">
            <a:extLst>
              <a:ext uri="{FF2B5EF4-FFF2-40B4-BE49-F238E27FC236}">
                <a16:creationId xmlns:a16="http://schemas.microsoft.com/office/drawing/2014/main" id="{AAEAFF3A-11F0-FD3B-47A3-0F9D4F2CD180}"/>
              </a:ext>
            </a:extLst>
          </p:cNvPr>
          <p:cNvSpPr/>
          <p:nvPr/>
        </p:nvSpPr>
        <p:spPr>
          <a:xfrm>
            <a:off x="0" y="356135"/>
            <a:ext cx="9144000" cy="4787365"/>
          </a:xfrm>
          <a:custGeom>
            <a:avLst/>
            <a:gdLst/>
            <a:ahLst/>
            <a:cxnLst/>
            <a:rect l="l" t="t" r="r" b="b"/>
            <a:pathLst>
              <a:path w="9144000" h="4787365">
                <a:moveTo>
                  <a:pt x="5676737" y="3927876"/>
                </a:moveTo>
                <a:lnTo>
                  <a:pt x="5676737" y="3956897"/>
                </a:lnTo>
                <a:cubicBezTo>
                  <a:pt x="5676737" y="3979519"/>
                  <a:pt x="5673091" y="3997900"/>
                  <a:pt x="5665798" y="4012038"/>
                </a:cubicBezTo>
                <a:cubicBezTo>
                  <a:pt x="5658505" y="4026177"/>
                  <a:pt x="5646153" y="4038158"/>
                  <a:pt x="5628740" y="4047980"/>
                </a:cubicBezTo>
                <a:cubicBezTo>
                  <a:pt x="5611327" y="4057803"/>
                  <a:pt x="5592500" y="4062714"/>
                  <a:pt x="5572260" y="4062714"/>
                </a:cubicBezTo>
                <a:cubicBezTo>
                  <a:pt x="5552912" y="4062714"/>
                  <a:pt x="5538252" y="4058175"/>
                  <a:pt x="5528281" y="4049097"/>
                </a:cubicBezTo>
                <a:cubicBezTo>
                  <a:pt x="5518309" y="4040018"/>
                  <a:pt x="5513324" y="4028335"/>
                  <a:pt x="5513324" y="4014047"/>
                </a:cubicBezTo>
                <a:cubicBezTo>
                  <a:pt x="5513324" y="4001546"/>
                  <a:pt x="5518384" y="3990384"/>
                  <a:pt x="5528504" y="3980561"/>
                </a:cubicBezTo>
                <a:cubicBezTo>
                  <a:pt x="5538327" y="3971036"/>
                  <a:pt x="5561693" y="3961362"/>
                  <a:pt x="5598602" y="3951540"/>
                </a:cubicBezTo>
                <a:cubicBezTo>
                  <a:pt x="5625689" y="3944694"/>
                  <a:pt x="5651734" y="3936806"/>
                  <a:pt x="5676737" y="3927876"/>
                </a:cubicBezTo>
                <a:close/>
                <a:moveTo>
                  <a:pt x="4703401" y="3801521"/>
                </a:moveTo>
                <a:cubicBezTo>
                  <a:pt x="4724832" y="3801521"/>
                  <a:pt x="4742989" y="3810525"/>
                  <a:pt x="4757872" y="3828533"/>
                </a:cubicBezTo>
                <a:cubicBezTo>
                  <a:pt x="4772755" y="3846541"/>
                  <a:pt x="4780196" y="3874744"/>
                  <a:pt x="4780196" y="3913142"/>
                </a:cubicBezTo>
                <a:cubicBezTo>
                  <a:pt x="4780196" y="3954814"/>
                  <a:pt x="4773053" y="3984356"/>
                  <a:pt x="4758765" y="4001769"/>
                </a:cubicBezTo>
                <a:cubicBezTo>
                  <a:pt x="4744478" y="4019182"/>
                  <a:pt x="4726767" y="4027889"/>
                  <a:pt x="4705633" y="4027889"/>
                </a:cubicBezTo>
                <a:cubicBezTo>
                  <a:pt x="4681523" y="4027889"/>
                  <a:pt x="4661580" y="4018810"/>
                  <a:pt x="4645805" y="4000653"/>
                </a:cubicBezTo>
                <a:cubicBezTo>
                  <a:pt x="4630029" y="3982496"/>
                  <a:pt x="4622141" y="3954665"/>
                  <a:pt x="4622141" y="3917160"/>
                </a:cubicBezTo>
                <a:cubicBezTo>
                  <a:pt x="4622141" y="3876381"/>
                  <a:pt x="4629880" y="3846914"/>
                  <a:pt x="4645358" y="3828756"/>
                </a:cubicBezTo>
                <a:cubicBezTo>
                  <a:pt x="4660836" y="3810599"/>
                  <a:pt x="4680184" y="3801521"/>
                  <a:pt x="4703401" y="3801521"/>
                </a:cubicBezTo>
                <a:close/>
                <a:moveTo>
                  <a:pt x="6606317" y="3775625"/>
                </a:moveTo>
                <a:cubicBezTo>
                  <a:pt x="6631321" y="3775625"/>
                  <a:pt x="6651487" y="3783215"/>
                  <a:pt x="6666816" y="3798396"/>
                </a:cubicBezTo>
                <a:cubicBezTo>
                  <a:pt x="6682145" y="3813576"/>
                  <a:pt x="6691596" y="3838728"/>
                  <a:pt x="6695168" y="3873851"/>
                </a:cubicBezTo>
                <a:lnTo>
                  <a:pt x="6516128" y="3873851"/>
                </a:lnTo>
                <a:cubicBezTo>
                  <a:pt x="6519104" y="3845574"/>
                  <a:pt x="6526099" y="3824292"/>
                  <a:pt x="6537112" y="3810004"/>
                </a:cubicBezTo>
                <a:cubicBezTo>
                  <a:pt x="6554376" y="3787085"/>
                  <a:pt x="6577445" y="3775625"/>
                  <a:pt x="6606317" y="3775625"/>
                </a:cubicBezTo>
                <a:close/>
                <a:moveTo>
                  <a:pt x="3167793" y="3775625"/>
                </a:moveTo>
                <a:cubicBezTo>
                  <a:pt x="3192796" y="3775625"/>
                  <a:pt x="3212962" y="3783215"/>
                  <a:pt x="3228291" y="3798396"/>
                </a:cubicBezTo>
                <a:cubicBezTo>
                  <a:pt x="3243621" y="3813576"/>
                  <a:pt x="3253071" y="3838728"/>
                  <a:pt x="3256643" y="3873851"/>
                </a:cubicBezTo>
                <a:lnTo>
                  <a:pt x="3077603" y="3873851"/>
                </a:lnTo>
                <a:cubicBezTo>
                  <a:pt x="3080580" y="3845574"/>
                  <a:pt x="3087574" y="3824292"/>
                  <a:pt x="3098588" y="3810004"/>
                </a:cubicBezTo>
                <a:cubicBezTo>
                  <a:pt x="3115852" y="3787085"/>
                  <a:pt x="3138920" y="3775625"/>
                  <a:pt x="3167793" y="3775625"/>
                </a:cubicBezTo>
                <a:close/>
                <a:moveTo>
                  <a:pt x="6598727" y="3668022"/>
                </a:moveTo>
                <a:cubicBezTo>
                  <a:pt x="6515086" y="3668022"/>
                  <a:pt x="6449527" y="3690942"/>
                  <a:pt x="6402051" y="3736781"/>
                </a:cubicBezTo>
                <a:cubicBezTo>
                  <a:pt x="6354575" y="3782620"/>
                  <a:pt x="6330837" y="3842597"/>
                  <a:pt x="6330837" y="3916714"/>
                </a:cubicBezTo>
                <a:cubicBezTo>
                  <a:pt x="6330837" y="3968804"/>
                  <a:pt x="6342668" y="4014122"/>
                  <a:pt x="6366332" y="4052668"/>
                </a:cubicBezTo>
                <a:cubicBezTo>
                  <a:pt x="6389996" y="4091215"/>
                  <a:pt x="6419836" y="4119343"/>
                  <a:pt x="6455852" y="4137054"/>
                </a:cubicBezTo>
                <a:cubicBezTo>
                  <a:pt x="6491869" y="4154764"/>
                  <a:pt x="6541280" y="4163620"/>
                  <a:pt x="6604085" y="4163620"/>
                </a:cubicBezTo>
                <a:cubicBezTo>
                  <a:pt x="6676415" y="4163620"/>
                  <a:pt x="6731928" y="4153276"/>
                  <a:pt x="6770624" y="4132589"/>
                </a:cubicBezTo>
                <a:cubicBezTo>
                  <a:pt x="6809319" y="4111902"/>
                  <a:pt x="6842359" y="4077746"/>
                  <a:pt x="6869743" y="4030121"/>
                </a:cubicBezTo>
                <a:lnTo>
                  <a:pt x="6690703" y="4013601"/>
                </a:lnTo>
                <a:cubicBezTo>
                  <a:pt x="6679392" y="4027889"/>
                  <a:pt x="6668825" y="4037860"/>
                  <a:pt x="6659003" y="4043515"/>
                </a:cubicBezTo>
                <a:cubicBezTo>
                  <a:pt x="6642929" y="4052445"/>
                  <a:pt x="6625963" y="4056910"/>
                  <a:pt x="6608103" y="4056910"/>
                </a:cubicBezTo>
                <a:cubicBezTo>
                  <a:pt x="6579826" y="4056910"/>
                  <a:pt x="6556906" y="4046641"/>
                  <a:pt x="6539345" y="4026103"/>
                </a:cubicBezTo>
                <a:cubicBezTo>
                  <a:pt x="6526843" y="4011815"/>
                  <a:pt x="6518955" y="3990086"/>
                  <a:pt x="6515681" y="3960916"/>
                </a:cubicBezTo>
                <a:lnTo>
                  <a:pt x="6880012" y="3960916"/>
                </a:lnTo>
                <a:lnTo>
                  <a:pt x="6880012" y="3940378"/>
                </a:lnTo>
                <a:cubicBezTo>
                  <a:pt x="6880012" y="3877870"/>
                  <a:pt x="6869743" y="3827119"/>
                  <a:pt x="6849205" y="3788126"/>
                </a:cubicBezTo>
                <a:cubicBezTo>
                  <a:pt x="6828667" y="3749133"/>
                  <a:pt x="6798752" y="3719368"/>
                  <a:pt x="6759462" y="3698830"/>
                </a:cubicBezTo>
                <a:cubicBezTo>
                  <a:pt x="6720171" y="3678291"/>
                  <a:pt x="6666593" y="3668022"/>
                  <a:pt x="6598727" y="3668022"/>
                </a:cubicBezTo>
                <a:close/>
                <a:moveTo>
                  <a:pt x="5590565" y="3668022"/>
                </a:moveTo>
                <a:cubicBezTo>
                  <a:pt x="5556633" y="3668022"/>
                  <a:pt x="5525081" y="3670552"/>
                  <a:pt x="5495911" y="3675612"/>
                </a:cubicBezTo>
                <a:cubicBezTo>
                  <a:pt x="5466740" y="3680672"/>
                  <a:pt x="5443821" y="3687816"/>
                  <a:pt x="5427152" y="3697044"/>
                </a:cubicBezTo>
                <a:cubicBezTo>
                  <a:pt x="5403935" y="3709843"/>
                  <a:pt x="5386150" y="3724949"/>
                  <a:pt x="5373797" y="3742362"/>
                </a:cubicBezTo>
                <a:cubicBezTo>
                  <a:pt x="5361445" y="3759775"/>
                  <a:pt x="5351994" y="3783662"/>
                  <a:pt x="5345446" y="3814022"/>
                </a:cubicBezTo>
                <a:lnTo>
                  <a:pt x="5519128" y="3832328"/>
                </a:lnTo>
                <a:cubicBezTo>
                  <a:pt x="5526272" y="3811790"/>
                  <a:pt x="5535648" y="3797800"/>
                  <a:pt x="5547256" y="3790359"/>
                </a:cubicBezTo>
                <a:cubicBezTo>
                  <a:pt x="5562139" y="3780834"/>
                  <a:pt x="5584463" y="3776071"/>
                  <a:pt x="5614229" y="3776071"/>
                </a:cubicBezTo>
                <a:cubicBezTo>
                  <a:pt x="5637446" y="3776071"/>
                  <a:pt x="5653669" y="3780536"/>
                  <a:pt x="5662896" y="3789466"/>
                </a:cubicBezTo>
                <a:cubicBezTo>
                  <a:pt x="5672123" y="3798396"/>
                  <a:pt x="5676737" y="3814022"/>
                  <a:pt x="5676737" y="3836347"/>
                </a:cubicBezTo>
                <a:cubicBezTo>
                  <a:pt x="5654115" y="3845276"/>
                  <a:pt x="5632684" y="3852495"/>
                  <a:pt x="5612443" y="3858001"/>
                </a:cubicBezTo>
                <a:cubicBezTo>
                  <a:pt x="5592203" y="3863508"/>
                  <a:pt x="5548001" y="3873107"/>
                  <a:pt x="5479837" y="3886799"/>
                </a:cubicBezTo>
                <a:cubicBezTo>
                  <a:pt x="5422985" y="3898110"/>
                  <a:pt x="5383992" y="3915374"/>
                  <a:pt x="5362858" y="3938592"/>
                </a:cubicBezTo>
                <a:cubicBezTo>
                  <a:pt x="5341725" y="3961809"/>
                  <a:pt x="5331158" y="3991426"/>
                  <a:pt x="5331158" y="4027442"/>
                </a:cubicBezTo>
                <a:cubicBezTo>
                  <a:pt x="5331158" y="4065840"/>
                  <a:pt x="5345818" y="4098135"/>
                  <a:pt x="5375137" y="4124329"/>
                </a:cubicBezTo>
                <a:cubicBezTo>
                  <a:pt x="5404456" y="4150523"/>
                  <a:pt x="5447393" y="4163620"/>
                  <a:pt x="5503947" y="4163620"/>
                </a:cubicBezTo>
                <a:cubicBezTo>
                  <a:pt x="5546512" y="4163620"/>
                  <a:pt x="5583868" y="4157071"/>
                  <a:pt x="5616015" y="4143974"/>
                </a:cubicBezTo>
                <a:cubicBezTo>
                  <a:pt x="5639530" y="4134152"/>
                  <a:pt x="5663194" y="4117781"/>
                  <a:pt x="5687006" y="4094861"/>
                </a:cubicBezTo>
                <a:cubicBezTo>
                  <a:pt x="5689090" y="4108553"/>
                  <a:pt x="5691173" y="4118599"/>
                  <a:pt x="5693257" y="4124999"/>
                </a:cubicBezTo>
                <a:cubicBezTo>
                  <a:pt x="5695340" y="4131398"/>
                  <a:pt x="5699805" y="4140700"/>
                  <a:pt x="5706651" y="4152904"/>
                </a:cubicBezTo>
                <a:lnTo>
                  <a:pt x="5877208" y="4152904"/>
                </a:lnTo>
                <a:cubicBezTo>
                  <a:pt x="5867683" y="4133259"/>
                  <a:pt x="5861507" y="4117111"/>
                  <a:pt x="5858679" y="4104461"/>
                </a:cubicBezTo>
                <a:cubicBezTo>
                  <a:pt x="5855852" y="4091810"/>
                  <a:pt x="5854438" y="4074323"/>
                  <a:pt x="5854438" y="4051999"/>
                </a:cubicBezTo>
                <a:lnTo>
                  <a:pt x="5854438" y="3842597"/>
                </a:lnTo>
                <a:cubicBezTo>
                  <a:pt x="5854438" y="3820273"/>
                  <a:pt x="5849973" y="3796833"/>
                  <a:pt x="5841043" y="3772276"/>
                </a:cubicBezTo>
                <a:cubicBezTo>
                  <a:pt x="5832113" y="3747720"/>
                  <a:pt x="5819910" y="3728744"/>
                  <a:pt x="5804431" y="3715349"/>
                </a:cubicBezTo>
                <a:cubicBezTo>
                  <a:pt x="5782405" y="3696002"/>
                  <a:pt x="5754872" y="3683277"/>
                  <a:pt x="5721832" y="3677175"/>
                </a:cubicBezTo>
                <a:cubicBezTo>
                  <a:pt x="5688792" y="3671073"/>
                  <a:pt x="5645037" y="3668022"/>
                  <a:pt x="5590565" y="3668022"/>
                </a:cubicBezTo>
                <a:close/>
                <a:moveTo>
                  <a:pt x="4762783" y="3668022"/>
                </a:moveTo>
                <a:cubicBezTo>
                  <a:pt x="4730637" y="3668022"/>
                  <a:pt x="4701317" y="3675017"/>
                  <a:pt x="4674826" y="3689007"/>
                </a:cubicBezTo>
                <a:cubicBezTo>
                  <a:pt x="4655181" y="3699425"/>
                  <a:pt x="4633601" y="3719368"/>
                  <a:pt x="4610086" y="3748836"/>
                </a:cubicBezTo>
                <a:lnTo>
                  <a:pt x="4610086" y="3678738"/>
                </a:lnTo>
                <a:lnTo>
                  <a:pt x="4439976" y="3678738"/>
                </a:lnTo>
                <a:lnTo>
                  <a:pt x="4439976" y="4333284"/>
                </a:lnTo>
                <a:lnTo>
                  <a:pt x="4623480" y="4333284"/>
                </a:lnTo>
                <a:lnTo>
                  <a:pt x="4623480" y="4106916"/>
                </a:lnTo>
                <a:cubicBezTo>
                  <a:pt x="4641637" y="4125669"/>
                  <a:pt x="4662250" y="4139807"/>
                  <a:pt x="4685318" y="4149332"/>
                </a:cubicBezTo>
                <a:cubicBezTo>
                  <a:pt x="4708387" y="4158857"/>
                  <a:pt x="4733911" y="4163620"/>
                  <a:pt x="4761890" y="4163620"/>
                </a:cubicBezTo>
                <a:cubicBezTo>
                  <a:pt x="4819636" y="4163620"/>
                  <a:pt x="4867410" y="4142858"/>
                  <a:pt x="4905212" y="4101335"/>
                </a:cubicBezTo>
                <a:cubicBezTo>
                  <a:pt x="4943014" y="4059812"/>
                  <a:pt x="4961915" y="3999611"/>
                  <a:pt x="4961915" y="3920732"/>
                </a:cubicBezTo>
                <a:cubicBezTo>
                  <a:pt x="4961915" y="3849295"/>
                  <a:pt x="4944577" y="3789317"/>
                  <a:pt x="4909900" y="3740799"/>
                </a:cubicBezTo>
                <a:cubicBezTo>
                  <a:pt x="4875223" y="3692281"/>
                  <a:pt x="4826184" y="3668022"/>
                  <a:pt x="4762783" y="3668022"/>
                </a:cubicBezTo>
                <a:close/>
                <a:moveTo>
                  <a:pt x="3859783" y="3668022"/>
                </a:moveTo>
                <a:cubicBezTo>
                  <a:pt x="3824608" y="3668022"/>
                  <a:pt x="3794577" y="3674124"/>
                  <a:pt x="3769688" y="3686328"/>
                </a:cubicBezTo>
                <a:cubicBezTo>
                  <a:pt x="3744798" y="3698532"/>
                  <a:pt x="3720131" y="3719070"/>
                  <a:pt x="3695686" y="3747943"/>
                </a:cubicBezTo>
                <a:lnTo>
                  <a:pt x="3695686" y="3678738"/>
                </a:lnTo>
                <a:lnTo>
                  <a:pt x="3526022" y="3678738"/>
                </a:lnTo>
                <a:lnTo>
                  <a:pt x="3526022" y="4152904"/>
                </a:lnTo>
                <a:lnTo>
                  <a:pt x="3708187" y="4152904"/>
                </a:lnTo>
                <a:lnTo>
                  <a:pt x="3708187" y="3910910"/>
                </a:lnTo>
                <a:cubicBezTo>
                  <a:pt x="3708187" y="3874893"/>
                  <a:pt x="3714908" y="3848997"/>
                  <a:pt x="3728349" y="3833221"/>
                </a:cubicBezTo>
                <a:cubicBezTo>
                  <a:pt x="3741790" y="3817446"/>
                  <a:pt x="3758966" y="3809558"/>
                  <a:pt x="3779877" y="3809558"/>
                </a:cubicBezTo>
                <a:cubicBezTo>
                  <a:pt x="3792717" y="3809558"/>
                  <a:pt x="3803916" y="3813204"/>
                  <a:pt x="3813475" y="3820497"/>
                </a:cubicBezTo>
                <a:cubicBezTo>
                  <a:pt x="3823032" y="3827789"/>
                  <a:pt x="3829752" y="3837389"/>
                  <a:pt x="3833636" y="3849295"/>
                </a:cubicBezTo>
                <a:cubicBezTo>
                  <a:pt x="3836026" y="3856736"/>
                  <a:pt x="3837222" y="3870875"/>
                  <a:pt x="3837222" y="3891711"/>
                </a:cubicBezTo>
                <a:lnTo>
                  <a:pt x="3837222" y="4152904"/>
                </a:lnTo>
                <a:lnTo>
                  <a:pt x="4019387" y="4152904"/>
                </a:lnTo>
                <a:lnTo>
                  <a:pt x="4019387" y="3908231"/>
                </a:lnTo>
                <a:cubicBezTo>
                  <a:pt x="4019387" y="3874000"/>
                  <a:pt x="4025913" y="3849146"/>
                  <a:pt x="4038966" y="3833668"/>
                </a:cubicBezTo>
                <a:cubicBezTo>
                  <a:pt x="4052019" y="3818190"/>
                  <a:pt x="4069224" y="3810451"/>
                  <a:pt x="4090580" y="3810451"/>
                </a:cubicBezTo>
                <a:cubicBezTo>
                  <a:pt x="4108672" y="3810451"/>
                  <a:pt x="4123799" y="3818636"/>
                  <a:pt x="4135962" y="3835007"/>
                </a:cubicBezTo>
                <a:cubicBezTo>
                  <a:pt x="4144268" y="3845425"/>
                  <a:pt x="4148422" y="3861350"/>
                  <a:pt x="4148422" y="3882781"/>
                </a:cubicBezTo>
                <a:lnTo>
                  <a:pt x="4148422" y="4152904"/>
                </a:lnTo>
                <a:lnTo>
                  <a:pt x="4330587" y="4152904"/>
                </a:lnTo>
                <a:lnTo>
                  <a:pt x="4330587" y="3855099"/>
                </a:lnTo>
                <a:cubicBezTo>
                  <a:pt x="4330587" y="3790805"/>
                  <a:pt x="4316319" y="3743552"/>
                  <a:pt x="4287784" y="3713340"/>
                </a:cubicBezTo>
                <a:cubicBezTo>
                  <a:pt x="4259248" y="3683128"/>
                  <a:pt x="4219565" y="3668022"/>
                  <a:pt x="4168736" y="3668022"/>
                </a:cubicBezTo>
                <a:cubicBezTo>
                  <a:pt x="4134255" y="3668022"/>
                  <a:pt x="4105273" y="3673603"/>
                  <a:pt x="4081790" y="3684765"/>
                </a:cubicBezTo>
                <a:cubicBezTo>
                  <a:pt x="4058308" y="3695927"/>
                  <a:pt x="4032298" y="3716987"/>
                  <a:pt x="4003760" y="3747943"/>
                </a:cubicBezTo>
                <a:cubicBezTo>
                  <a:pt x="3989752" y="3721451"/>
                  <a:pt x="3971718" y="3701508"/>
                  <a:pt x="3949659" y="3688114"/>
                </a:cubicBezTo>
                <a:cubicBezTo>
                  <a:pt x="3927600" y="3674719"/>
                  <a:pt x="3897641" y="3668022"/>
                  <a:pt x="3859783" y="3668022"/>
                </a:cubicBezTo>
                <a:close/>
                <a:moveTo>
                  <a:pt x="3160203" y="3668022"/>
                </a:moveTo>
                <a:cubicBezTo>
                  <a:pt x="3076561" y="3668022"/>
                  <a:pt x="3011002" y="3690942"/>
                  <a:pt x="2963526" y="3736781"/>
                </a:cubicBezTo>
                <a:cubicBezTo>
                  <a:pt x="2916050" y="3782620"/>
                  <a:pt x="2892312" y="3842597"/>
                  <a:pt x="2892312" y="3916714"/>
                </a:cubicBezTo>
                <a:cubicBezTo>
                  <a:pt x="2892312" y="3968804"/>
                  <a:pt x="2904144" y="4014122"/>
                  <a:pt x="2927807" y="4052668"/>
                </a:cubicBezTo>
                <a:cubicBezTo>
                  <a:pt x="2951471" y="4091215"/>
                  <a:pt x="2981311" y="4119343"/>
                  <a:pt x="3017328" y="4137054"/>
                </a:cubicBezTo>
                <a:cubicBezTo>
                  <a:pt x="3053344" y="4154764"/>
                  <a:pt x="3102755" y="4163620"/>
                  <a:pt x="3165560" y="4163620"/>
                </a:cubicBezTo>
                <a:cubicBezTo>
                  <a:pt x="3237891" y="4163620"/>
                  <a:pt x="3293404" y="4153276"/>
                  <a:pt x="3332099" y="4132589"/>
                </a:cubicBezTo>
                <a:cubicBezTo>
                  <a:pt x="3370794" y="4111902"/>
                  <a:pt x="3403834" y="4077746"/>
                  <a:pt x="3431219" y="4030121"/>
                </a:cubicBezTo>
                <a:lnTo>
                  <a:pt x="3252179" y="4013601"/>
                </a:lnTo>
                <a:cubicBezTo>
                  <a:pt x="3240867" y="4027889"/>
                  <a:pt x="3230301" y="4037860"/>
                  <a:pt x="3220478" y="4043515"/>
                </a:cubicBezTo>
                <a:cubicBezTo>
                  <a:pt x="3204405" y="4052445"/>
                  <a:pt x="3187438" y="4056910"/>
                  <a:pt x="3169579" y="4056910"/>
                </a:cubicBezTo>
                <a:cubicBezTo>
                  <a:pt x="3141301" y="4056910"/>
                  <a:pt x="3118382" y="4046641"/>
                  <a:pt x="3100820" y="4026103"/>
                </a:cubicBezTo>
                <a:cubicBezTo>
                  <a:pt x="3088319" y="4011815"/>
                  <a:pt x="3080431" y="3990086"/>
                  <a:pt x="3077156" y="3960916"/>
                </a:cubicBezTo>
                <a:lnTo>
                  <a:pt x="3441487" y="3960916"/>
                </a:lnTo>
                <a:lnTo>
                  <a:pt x="3441487" y="3940378"/>
                </a:lnTo>
                <a:cubicBezTo>
                  <a:pt x="3441487" y="3877870"/>
                  <a:pt x="3431219" y="3827119"/>
                  <a:pt x="3410680" y="3788126"/>
                </a:cubicBezTo>
                <a:cubicBezTo>
                  <a:pt x="3390142" y="3749133"/>
                  <a:pt x="3360228" y="3719368"/>
                  <a:pt x="3320937" y="3698830"/>
                </a:cubicBezTo>
                <a:cubicBezTo>
                  <a:pt x="3281647" y="3678291"/>
                  <a:pt x="3228068" y="3668022"/>
                  <a:pt x="3160203" y="3668022"/>
                </a:cubicBezTo>
                <a:close/>
                <a:moveTo>
                  <a:pt x="6163256" y="3498358"/>
                </a:moveTo>
                <a:lnTo>
                  <a:pt x="5981090" y="3591673"/>
                </a:lnTo>
                <a:lnTo>
                  <a:pt x="5981090" y="3678738"/>
                </a:lnTo>
                <a:lnTo>
                  <a:pt x="5914118" y="3678738"/>
                </a:lnTo>
                <a:lnTo>
                  <a:pt x="5914118" y="3811790"/>
                </a:lnTo>
                <a:lnTo>
                  <a:pt x="5981090" y="3811790"/>
                </a:lnTo>
                <a:lnTo>
                  <a:pt x="5981090" y="3978566"/>
                </a:lnTo>
                <a:cubicBezTo>
                  <a:pt x="5981090" y="4031479"/>
                  <a:pt x="5986225" y="4069752"/>
                  <a:pt x="5996494" y="4093386"/>
                </a:cubicBezTo>
                <a:cubicBezTo>
                  <a:pt x="6006763" y="4117019"/>
                  <a:pt x="6022613" y="4134633"/>
                  <a:pt x="6044045" y="4146228"/>
                </a:cubicBezTo>
                <a:cubicBezTo>
                  <a:pt x="6065476" y="4157822"/>
                  <a:pt x="6098813" y="4163620"/>
                  <a:pt x="6144057" y="4163620"/>
                </a:cubicBezTo>
                <a:cubicBezTo>
                  <a:pt x="6183050" y="4163620"/>
                  <a:pt x="6225020" y="4158708"/>
                  <a:pt x="6269966" y="4148886"/>
                </a:cubicBezTo>
                <a:lnTo>
                  <a:pt x="6256571" y="4023445"/>
                </a:lnTo>
                <a:cubicBezTo>
                  <a:pt x="6232461" y="4031170"/>
                  <a:pt x="6213709" y="4035032"/>
                  <a:pt x="6200314" y="4035032"/>
                </a:cubicBezTo>
                <a:cubicBezTo>
                  <a:pt x="6185431" y="4035032"/>
                  <a:pt x="6175013" y="4029981"/>
                  <a:pt x="6169060" y="4019880"/>
                </a:cubicBezTo>
                <a:cubicBezTo>
                  <a:pt x="6165191" y="4013345"/>
                  <a:pt x="6163256" y="3999979"/>
                  <a:pt x="6163256" y="3979780"/>
                </a:cubicBezTo>
                <a:lnTo>
                  <a:pt x="6163256" y="3811790"/>
                </a:lnTo>
                <a:lnTo>
                  <a:pt x="6263269" y="3811790"/>
                </a:lnTo>
                <a:lnTo>
                  <a:pt x="6263269" y="3678738"/>
                </a:lnTo>
                <a:lnTo>
                  <a:pt x="6163256" y="3678738"/>
                </a:lnTo>
                <a:close/>
                <a:moveTo>
                  <a:pt x="5054933" y="3498358"/>
                </a:moveTo>
                <a:lnTo>
                  <a:pt x="5054933" y="4152904"/>
                </a:lnTo>
                <a:lnTo>
                  <a:pt x="5237099" y="4152904"/>
                </a:lnTo>
                <a:lnTo>
                  <a:pt x="5237099" y="3498358"/>
                </a:lnTo>
                <a:close/>
                <a:moveTo>
                  <a:pt x="2281075" y="3498358"/>
                </a:moveTo>
                <a:lnTo>
                  <a:pt x="2281075" y="3659985"/>
                </a:lnTo>
                <a:lnTo>
                  <a:pt x="2487350" y="3659985"/>
                </a:lnTo>
                <a:lnTo>
                  <a:pt x="2487350" y="4152904"/>
                </a:lnTo>
                <a:lnTo>
                  <a:pt x="2689608" y="4152904"/>
                </a:lnTo>
                <a:lnTo>
                  <a:pt x="2689608" y="3659985"/>
                </a:lnTo>
                <a:lnTo>
                  <a:pt x="2895884" y="3659985"/>
                </a:lnTo>
                <a:lnTo>
                  <a:pt x="2895884" y="3498358"/>
                </a:lnTo>
                <a:close/>
                <a:moveTo>
                  <a:pt x="5543387" y="2680101"/>
                </a:moveTo>
                <a:lnTo>
                  <a:pt x="5543387" y="2709123"/>
                </a:lnTo>
                <a:cubicBezTo>
                  <a:pt x="5543387" y="2731744"/>
                  <a:pt x="5539741" y="2750125"/>
                  <a:pt x="5532448" y="2764263"/>
                </a:cubicBezTo>
                <a:cubicBezTo>
                  <a:pt x="5525155" y="2778402"/>
                  <a:pt x="5512803" y="2790383"/>
                  <a:pt x="5495390" y="2800205"/>
                </a:cubicBezTo>
                <a:cubicBezTo>
                  <a:pt x="5477977" y="2810028"/>
                  <a:pt x="5459150" y="2814939"/>
                  <a:pt x="5438910" y="2814939"/>
                </a:cubicBezTo>
                <a:cubicBezTo>
                  <a:pt x="5419562" y="2814939"/>
                  <a:pt x="5404902" y="2810400"/>
                  <a:pt x="5394931" y="2801322"/>
                </a:cubicBezTo>
                <a:cubicBezTo>
                  <a:pt x="5384959" y="2792243"/>
                  <a:pt x="5379974" y="2780560"/>
                  <a:pt x="5379974" y="2766273"/>
                </a:cubicBezTo>
                <a:cubicBezTo>
                  <a:pt x="5379974" y="2753771"/>
                  <a:pt x="5385034" y="2742609"/>
                  <a:pt x="5395154" y="2732786"/>
                </a:cubicBezTo>
                <a:cubicBezTo>
                  <a:pt x="5404977" y="2723261"/>
                  <a:pt x="5428343" y="2713587"/>
                  <a:pt x="5465252" y="2703765"/>
                </a:cubicBezTo>
                <a:cubicBezTo>
                  <a:pt x="5492339" y="2696919"/>
                  <a:pt x="5518384" y="2689031"/>
                  <a:pt x="5543387" y="2680101"/>
                </a:cubicBezTo>
                <a:close/>
                <a:moveTo>
                  <a:pt x="6644417" y="2527850"/>
                </a:moveTo>
                <a:cubicBezTo>
                  <a:pt x="6669421" y="2527850"/>
                  <a:pt x="6689587" y="2535440"/>
                  <a:pt x="6704916" y="2550621"/>
                </a:cubicBezTo>
                <a:cubicBezTo>
                  <a:pt x="6720245" y="2565801"/>
                  <a:pt x="6729696" y="2590953"/>
                  <a:pt x="6733268" y="2626076"/>
                </a:cubicBezTo>
                <a:lnTo>
                  <a:pt x="6554228" y="2626076"/>
                </a:lnTo>
                <a:cubicBezTo>
                  <a:pt x="6557204" y="2597799"/>
                  <a:pt x="6564199" y="2576517"/>
                  <a:pt x="6575212" y="2562229"/>
                </a:cubicBezTo>
                <a:cubicBezTo>
                  <a:pt x="6592476" y="2539310"/>
                  <a:pt x="6615545" y="2527850"/>
                  <a:pt x="6644417" y="2527850"/>
                </a:cubicBezTo>
                <a:close/>
                <a:moveTo>
                  <a:pt x="3844068" y="2527850"/>
                </a:moveTo>
                <a:cubicBezTo>
                  <a:pt x="3869071" y="2527850"/>
                  <a:pt x="3889237" y="2535440"/>
                  <a:pt x="3904566" y="2550621"/>
                </a:cubicBezTo>
                <a:cubicBezTo>
                  <a:pt x="3919896" y="2565801"/>
                  <a:pt x="3929346" y="2590953"/>
                  <a:pt x="3932918" y="2626076"/>
                </a:cubicBezTo>
                <a:lnTo>
                  <a:pt x="3753878" y="2626076"/>
                </a:lnTo>
                <a:cubicBezTo>
                  <a:pt x="3756855" y="2597799"/>
                  <a:pt x="3763850" y="2576517"/>
                  <a:pt x="3774863" y="2562229"/>
                </a:cubicBezTo>
                <a:cubicBezTo>
                  <a:pt x="3792127" y="2539310"/>
                  <a:pt x="3815195" y="2527850"/>
                  <a:pt x="3844068" y="2527850"/>
                </a:cubicBezTo>
                <a:close/>
                <a:moveTo>
                  <a:pt x="6636827" y="2420247"/>
                </a:moveTo>
                <a:cubicBezTo>
                  <a:pt x="6553186" y="2420247"/>
                  <a:pt x="6487627" y="2443167"/>
                  <a:pt x="6440151" y="2489006"/>
                </a:cubicBezTo>
                <a:cubicBezTo>
                  <a:pt x="6392675" y="2534845"/>
                  <a:pt x="6368937" y="2594823"/>
                  <a:pt x="6368937" y="2668939"/>
                </a:cubicBezTo>
                <a:cubicBezTo>
                  <a:pt x="6368937" y="2721029"/>
                  <a:pt x="6380768" y="2766347"/>
                  <a:pt x="6404432" y="2804893"/>
                </a:cubicBezTo>
                <a:cubicBezTo>
                  <a:pt x="6428096" y="2843440"/>
                  <a:pt x="6457936" y="2871568"/>
                  <a:pt x="6493952" y="2889279"/>
                </a:cubicBezTo>
                <a:cubicBezTo>
                  <a:pt x="6529969" y="2906989"/>
                  <a:pt x="6579380" y="2915845"/>
                  <a:pt x="6642185" y="2915845"/>
                </a:cubicBezTo>
                <a:cubicBezTo>
                  <a:pt x="6714515" y="2915845"/>
                  <a:pt x="6770028" y="2905501"/>
                  <a:pt x="6808724" y="2884814"/>
                </a:cubicBezTo>
                <a:cubicBezTo>
                  <a:pt x="6847419" y="2864127"/>
                  <a:pt x="6880459" y="2829971"/>
                  <a:pt x="6907843" y="2782346"/>
                </a:cubicBezTo>
                <a:lnTo>
                  <a:pt x="6728803" y="2765826"/>
                </a:lnTo>
                <a:cubicBezTo>
                  <a:pt x="6717492" y="2780114"/>
                  <a:pt x="6706925" y="2790085"/>
                  <a:pt x="6697103" y="2795741"/>
                </a:cubicBezTo>
                <a:cubicBezTo>
                  <a:pt x="6681029" y="2804670"/>
                  <a:pt x="6664063" y="2809135"/>
                  <a:pt x="6646203" y="2809135"/>
                </a:cubicBezTo>
                <a:cubicBezTo>
                  <a:pt x="6617926" y="2809135"/>
                  <a:pt x="6595006" y="2798866"/>
                  <a:pt x="6577445" y="2778328"/>
                </a:cubicBezTo>
                <a:cubicBezTo>
                  <a:pt x="6564943" y="2764040"/>
                  <a:pt x="6557055" y="2742311"/>
                  <a:pt x="6553781" y="2713141"/>
                </a:cubicBezTo>
                <a:lnTo>
                  <a:pt x="6918112" y="2713141"/>
                </a:lnTo>
                <a:lnTo>
                  <a:pt x="6918112" y="2692603"/>
                </a:lnTo>
                <a:cubicBezTo>
                  <a:pt x="6918112" y="2630095"/>
                  <a:pt x="6907843" y="2579344"/>
                  <a:pt x="6887305" y="2540351"/>
                </a:cubicBezTo>
                <a:cubicBezTo>
                  <a:pt x="6866767" y="2501358"/>
                  <a:pt x="6836852" y="2471593"/>
                  <a:pt x="6797562" y="2451055"/>
                </a:cubicBezTo>
                <a:cubicBezTo>
                  <a:pt x="6758271" y="2430516"/>
                  <a:pt x="6704693" y="2420247"/>
                  <a:pt x="6636827" y="2420247"/>
                </a:cubicBezTo>
                <a:close/>
                <a:moveTo>
                  <a:pt x="6048063" y="2420247"/>
                </a:moveTo>
                <a:cubicBezTo>
                  <a:pt x="5994485" y="2420247"/>
                  <a:pt x="5951771" y="2425822"/>
                  <a:pt x="5919922" y="2436973"/>
                </a:cubicBezTo>
                <a:cubicBezTo>
                  <a:pt x="5888073" y="2448123"/>
                  <a:pt x="5863070" y="2464998"/>
                  <a:pt x="5844913" y="2487597"/>
                </a:cubicBezTo>
                <a:cubicBezTo>
                  <a:pt x="5826756" y="2510195"/>
                  <a:pt x="5817677" y="2537107"/>
                  <a:pt x="5817677" y="2568333"/>
                </a:cubicBezTo>
                <a:cubicBezTo>
                  <a:pt x="5817677" y="2596881"/>
                  <a:pt x="5826086" y="2622305"/>
                  <a:pt x="5842904" y="2644606"/>
                </a:cubicBezTo>
                <a:cubicBezTo>
                  <a:pt x="5859721" y="2666907"/>
                  <a:pt x="5880408" y="2682740"/>
                  <a:pt x="5904965" y="2692107"/>
                </a:cubicBezTo>
                <a:cubicBezTo>
                  <a:pt x="5929522" y="2701474"/>
                  <a:pt x="5973351" y="2711657"/>
                  <a:pt x="6036455" y="2722657"/>
                </a:cubicBezTo>
                <a:cubicBezTo>
                  <a:pt x="6078722" y="2730089"/>
                  <a:pt x="6104767" y="2736330"/>
                  <a:pt x="6114589" y="2741381"/>
                </a:cubicBezTo>
                <a:cubicBezTo>
                  <a:pt x="6128281" y="2748515"/>
                  <a:pt x="6135128" y="2758622"/>
                  <a:pt x="6135128" y="2771700"/>
                </a:cubicBezTo>
                <a:cubicBezTo>
                  <a:pt x="6135128" y="2783290"/>
                  <a:pt x="6129919" y="2792948"/>
                  <a:pt x="6119501" y="2800673"/>
                </a:cubicBezTo>
                <a:cubicBezTo>
                  <a:pt x="6106106" y="2811077"/>
                  <a:pt x="6087205" y="2816279"/>
                  <a:pt x="6062797" y="2816279"/>
                </a:cubicBezTo>
                <a:cubicBezTo>
                  <a:pt x="6040473" y="2816279"/>
                  <a:pt x="6022613" y="2811665"/>
                  <a:pt x="6009219" y="2802438"/>
                </a:cubicBezTo>
                <a:cubicBezTo>
                  <a:pt x="5995824" y="2793210"/>
                  <a:pt x="5985406" y="2777881"/>
                  <a:pt x="5977965" y="2756450"/>
                </a:cubicBezTo>
                <a:lnTo>
                  <a:pt x="5797585" y="2773416"/>
                </a:lnTo>
                <a:cubicBezTo>
                  <a:pt x="5808003" y="2818958"/>
                  <a:pt x="5831593" y="2854081"/>
                  <a:pt x="5868353" y="2878787"/>
                </a:cubicBezTo>
                <a:cubicBezTo>
                  <a:pt x="5905114" y="2903492"/>
                  <a:pt x="5966803" y="2915845"/>
                  <a:pt x="6053421" y="2915845"/>
                </a:cubicBezTo>
                <a:cubicBezTo>
                  <a:pt x="6114738" y="2915845"/>
                  <a:pt x="6163182" y="2908188"/>
                  <a:pt x="6198752" y="2892875"/>
                </a:cubicBezTo>
                <a:cubicBezTo>
                  <a:pt x="6234322" y="2877562"/>
                  <a:pt x="6260366" y="2856970"/>
                  <a:pt x="6276886" y="2831100"/>
                </a:cubicBezTo>
                <a:cubicBezTo>
                  <a:pt x="6293406" y="2805229"/>
                  <a:pt x="6301666" y="2778616"/>
                  <a:pt x="6301666" y="2751260"/>
                </a:cubicBezTo>
                <a:cubicBezTo>
                  <a:pt x="6301666" y="2724201"/>
                  <a:pt x="6293853" y="2699372"/>
                  <a:pt x="6278226" y="2676773"/>
                </a:cubicBezTo>
                <a:cubicBezTo>
                  <a:pt x="6262599" y="2654175"/>
                  <a:pt x="6240051" y="2636779"/>
                  <a:pt x="6210583" y="2624587"/>
                </a:cubicBezTo>
                <a:cubicBezTo>
                  <a:pt x="6181115" y="2612395"/>
                  <a:pt x="6136169" y="2602880"/>
                  <a:pt x="6075745" y="2596043"/>
                </a:cubicBezTo>
                <a:cubicBezTo>
                  <a:pt x="6035859" y="2591286"/>
                  <a:pt x="6009963" y="2585935"/>
                  <a:pt x="5998057" y="2579991"/>
                </a:cubicBezTo>
                <a:cubicBezTo>
                  <a:pt x="5986151" y="2574047"/>
                  <a:pt x="5980197" y="2565280"/>
                  <a:pt x="5980197" y="2553690"/>
                </a:cubicBezTo>
                <a:cubicBezTo>
                  <a:pt x="5980197" y="2543286"/>
                  <a:pt x="5984886" y="2534444"/>
                  <a:pt x="5994262" y="2527163"/>
                </a:cubicBezTo>
                <a:cubicBezTo>
                  <a:pt x="6003638" y="2519882"/>
                  <a:pt x="6018595" y="2516241"/>
                  <a:pt x="6039133" y="2516241"/>
                </a:cubicBezTo>
                <a:cubicBezTo>
                  <a:pt x="6059374" y="2516241"/>
                  <a:pt x="6076638" y="2521004"/>
                  <a:pt x="6090926" y="2530529"/>
                </a:cubicBezTo>
                <a:cubicBezTo>
                  <a:pt x="6101344" y="2537673"/>
                  <a:pt x="6108785" y="2548835"/>
                  <a:pt x="6113250" y="2564015"/>
                </a:cubicBezTo>
                <a:lnTo>
                  <a:pt x="6285593" y="2547049"/>
                </a:lnTo>
                <a:cubicBezTo>
                  <a:pt x="6273687" y="2516092"/>
                  <a:pt x="6258729" y="2491536"/>
                  <a:pt x="6240721" y="2473379"/>
                </a:cubicBezTo>
                <a:cubicBezTo>
                  <a:pt x="6222713" y="2455222"/>
                  <a:pt x="6200240" y="2441827"/>
                  <a:pt x="6173302" y="2433195"/>
                </a:cubicBezTo>
                <a:cubicBezTo>
                  <a:pt x="6146364" y="2424563"/>
                  <a:pt x="6104618" y="2420247"/>
                  <a:pt x="6048063" y="2420247"/>
                </a:cubicBezTo>
                <a:close/>
                <a:moveTo>
                  <a:pt x="5457215" y="2420247"/>
                </a:moveTo>
                <a:cubicBezTo>
                  <a:pt x="5423283" y="2420247"/>
                  <a:pt x="5391731" y="2422777"/>
                  <a:pt x="5362561" y="2427837"/>
                </a:cubicBezTo>
                <a:cubicBezTo>
                  <a:pt x="5333390" y="2432898"/>
                  <a:pt x="5310471" y="2440041"/>
                  <a:pt x="5293802" y="2449269"/>
                </a:cubicBezTo>
                <a:cubicBezTo>
                  <a:pt x="5270585" y="2462068"/>
                  <a:pt x="5252800" y="2477174"/>
                  <a:pt x="5240447" y="2494587"/>
                </a:cubicBezTo>
                <a:cubicBezTo>
                  <a:pt x="5228095" y="2512000"/>
                  <a:pt x="5218644" y="2535887"/>
                  <a:pt x="5212096" y="2566248"/>
                </a:cubicBezTo>
                <a:lnTo>
                  <a:pt x="5385778" y="2584553"/>
                </a:lnTo>
                <a:cubicBezTo>
                  <a:pt x="5392922" y="2564015"/>
                  <a:pt x="5402298" y="2550025"/>
                  <a:pt x="5413906" y="2542584"/>
                </a:cubicBezTo>
                <a:cubicBezTo>
                  <a:pt x="5428789" y="2533059"/>
                  <a:pt x="5451113" y="2528296"/>
                  <a:pt x="5480879" y="2528296"/>
                </a:cubicBezTo>
                <a:cubicBezTo>
                  <a:pt x="5504096" y="2528296"/>
                  <a:pt x="5520319" y="2532761"/>
                  <a:pt x="5529546" y="2541691"/>
                </a:cubicBezTo>
                <a:cubicBezTo>
                  <a:pt x="5538773" y="2550621"/>
                  <a:pt x="5543387" y="2566248"/>
                  <a:pt x="5543387" y="2588572"/>
                </a:cubicBezTo>
                <a:cubicBezTo>
                  <a:pt x="5520765" y="2597501"/>
                  <a:pt x="5499334" y="2604720"/>
                  <a:pt x="5479093" y="2610226"/>
                </a:cubicBezTo>
                <a:cubicBezTo>
                  <a:pt x="5458853" y="2615733"/>
                  <a:pt x="5414651" y="2625332"/>
                  <a:pt x="5346487" y="2639024"/>
                </a:cubicBezTo>
                <a:cubicBezTo>
                  <a:pt x="5289635" y="2650335"/>
                  <a:pt x="5250642" y="2667599"/>
                  <a:pt x="5229508" y="2690817"/>
                </a:cubicBezTo>
                <a:cubicBezTo>
                  <a:pt x="5208375" y="2714034"/>
                  <a:pt x="5197808" y="2743651"/>
                  <a:pt x="5197808" y="2779667"/>
                </a:cubicBezTo>
                <a:cubicBezTo>
                  <a:pt x="5197808" y="2818065"/>
                  <a:pt x="5212468" y="2850360"/>
                  <a:pt x="5241787" y="2876554"/>
                </a:cubicBezTo>
                <a:cubicBezTo>
                  <a:pt x="5271106" y="2902748"/>
                  <a:pt x="5314043" y="2915845"/>
                  <a:pt x="5370597" y="2915845"/>
                </a:cubicBezTo>
                <a:cubicBezTo>
                  <a:pt x="5413162" y="2915845"/>
                  <a:pt x="5450518" y="2909296"/>
                  <a:pt x="5482665" y="2896199"/>
                </a:cubicBezTo>
                <a:cubicBezTo>
                  <a:pt x="5506180" y="2886377"/>
                  <a:pt x="5529844" y="2870006"/>
                  <a:pt x="5553656" y="2847086"/>
                </a:cubicBezTo>
                <a:cubicBezTo>
                  <a:pt x="5555740" y="2860778"/>
                  <a:pt x="5557823" y="2870824"/>
                  <a:pt x="5559907" y="2877224"/>
                </a:cubicBezTo>
                <a:cubicBezTo>
                  <a:pt x="5561990" y="2883623"/>
                  <a:pt x="5566455" y="2892925"/>
                  <a:pt x="5573301" y="2905129"/>
                </a:cubicBezTo>
                <a:lnTo>
                  <a:pt x="5743858" y="2905129"/>
                </a:lnTo>
                <a:cubicBezTo>
                  <a:pt x="5734333" y="2885484"/>
                  <a:pt x="5728157" y="2869336"/>
                  <a:pt x="5725329" y="2856686"/>
                </a:cubicBezTo>
                <a:cubicBezTo>
                  <a:pt x="5722502" y="2844035"/>
                  <a:pt x="5721088" y="2826548"/>
                  <a:pt x="5721088" y="2804224"/>
                </a:cubicBezTo>
                <a:lnTo>
                  <a:pt x="5721088" y="2594823"/>
                </a:lnTo>
                <a:cubicBezTo>
                  <a:pt x="5721088" y="2572498"/>
                  <a:pt x="5716623" y="2549058"/>
                  <a:pt x="5707693" y="2524501"/>
                </a:cubicBezTo>
                <a:cubicBezTo>
                  <a:pt x="5698763" y="2499945"/>
                  <a:pt x="5686560" y="2480969"/>
                  <a:pt x="5671081" y="2467574"/>
                </a:cubicBezTo>
                <a:cubicBezTo>
                  <a:pt x="5649055" y="2448227"/>
                  <a:pt x="5621522" y="2435502"/>
                  <a:pt x="5588482" y="2429400"/>
                </a:cubicBezTo>
                <a:cubicBezTo>
                  <a:pt x="5555442" y="2423298"/>
                  <a:pt x="5511687" y="2420247"/>
                  <a:pt x="5457215" y="2420247"/>
                </a:cubicBezTo>
                <a:close/>
                <a:moveTo>
                  <a:pt x="3836477" y="2420247"/>
                </a:moveTo>
                <a:cubicBezTo>
                  <a:pt x="3752836" y="2420247"/>
                  <a:pt x="3687277" y="2443167"/>
                  <a:pt x="3639801" y="2489006"/>
                </a:cubicBezTo>
                <a:cubicBezTo>
                  <a:pt x="3592325" y="2534845"/>
                  <a:pt x="3568587" y="2594823"/>
                  <a:pt x="3568587" y="2668939"/>
                </a:cubicBezTo>
                <a:cubicBezTo>
                  <a:pt x="3568587" y="2721029"/>
                  <a:pt x="3580419" y="2766347"/>
                  <a:pt x="3604083" y="2804893"/>
                </a:cubicBezTo>
                <a:cubicBezTo>
                  <a:pt x="3627746" y="2843440"/>
                  <a:pt x="3657586" y="2871568"/>
                  <a:pt x="3693602" y="2889279"/>
                </a:cubicBezTo>
                <a:cubicBezTo>
                  <a:pt x="3729619" y="2906989"/>
                  <a:pt x="3779030" y="2915845"/>
                  <a:pt x="3841835" y="2915845"/>
                </a:cubicBezTo>
                <a:cubicBezTo>
                  <a:pt x="3914166" y="2915845"/>
                  <a:pt x="3969679" y="2905501"/>
                  <a:pt x="4008374" y="2884814"/>
                </a:cubicBezTo>
                <a:cubicBezTo>
                  <a:pt x="4047069" y="2864127"/>
                  <a:pt x="4080109" y="2829971"/>
                  <a:pt x="4107494" y="2782346"/>
                </a:cubicBezTo>
                <a:lnTo>
                  <a:pt x="3928454" y="2765826"/>
                </a:lnTo>
                <a:cubicBezTo>
                  <a:pt x="3917143" y="2780114"/>
                  <a:pt x="3906576" y="2790085"/>
                  <a:pt x="3896753" y="2795741"/>
                </a:cubicBezTo>
                <a:cubicBezTo>
                  <a:pt x="3880679" y="2804670"/>
                  <a:pt x="3863713" y="2809135"/>
                  <a:pt x="3845854" y="2809135"/>
                </a:cubicBezTo>
                <a:cubicBezTo>
                  <a:pt x="3817577" y="2809135"/>
                  <a:pt x="3794657" y="2798866"/>
                  <a:pt x="3777095" y="2778328"/>
                </a:cubicBezTo>
                <a:cubicBezTo>
                  <a:pt x="3764594" y="2764040"/>
                  <a:pt x="3756705" y="2742311"/>
                  <a:pt x="3753431" y="2713141"/>
                </a:cubicBezTo>
                <a:lnTo>
                  <a:pt x="4117762" y="2713141"/>
                </a:lnTo>
                <a:lnTo>
                  <a:pt x="4117762" y="2692603"/>
                </a:lnTo>
                <a:cubicBezTo>
                  <a:pt x="4117762" y="2630095"/>
                  <a:pt x="4107494" y="2579344"/>
                  <a:pt x="4086956" y="2540351"/>
                </a:cubicBezTo>
                <a:cubicBezTo>
                  <a:pt x="4066417" y="2501358"/>
                  <a:pt x="4036503" y="2471593"/>
                  <a:pt x="3997212" y="2451055"/>
                </a:cubicBezTo>
                <a:cubicBezTo>
                  <a:pt x="3957921" y="2430516"/>
                  <a:pt x="3904343" y="2420247"/>
                  <a:pt x="3836477" y="2420247"/>
                </a:cubicBezTo>
                <a:close/>
                <a:moveTo>
                  <a:pt x="3247714" y="2420247"/>
                </a:moveTo>
                <a:cubicBezTo>
                  <a:pt x="3194135" y="2420247"/>
                  <a:pt x="3151422" y="2425822"/>
                  <a:pt x="3119573" y="2436973"/>
                </a:cubicBezTo>
                <a:cubicBezTo>
                  <a:pt x="3087723" y="2448123"/>
                  <a:pt x="3062720" y="2464998"/>
                  <a:pt x="3044563" y="2487597"/>
                </a:cubicBezTo>
                <a:cubicBezTo>
                  <a:pt x="3026406" y="2510195"/>
                  <a:pt x="3017328" y="2537107"/>
                  <a:pt x="3017328" y="2568333"/>
                </a:cubicBezTo>
                <a:cubicBezTo>
                  <a:pt x="3017328" y="2596881"/>
                  <a:pt x="3025736" y="2622305"/>
                  <a:pt x="3042554" y="2644606"/>
                </a:cubicBezTo>
                <a:cubicBezTo>
                  <a:pt x="3059372" y="2666907"/>
                  <a:pt x="3080059" y="2682740"/>
                  <a:pt x="3104615" y="2692107"/>
                </a:cubicBezTo>
                <a:cubicBezTo>
                  <a:pt x="3129172" y="2701474"/>
                  <a:pt x="3173002" y="2711657"/>
                  <a:pt x="3236105" y="2722657"/>
                </a:cubicBezTo>
                <a:cubicBezTo>
                  <a:pt x="3278372" y="2730089"/>
                  <a:pt x="3304417" y="2736330"/>
                  <a:pt x="3314240" y="2741381"/>
                </a:cubicBezTo>
                <a:cubicBezTo>
                  <a:pt x="3327932" y="2748515"/>
                  <a:pt x="3334778" y="2758622"/>
                  <a:pt x="3334778" y="2771700"/>
                </a:cubicBezTo>
                <a:cubicBezTo>
                  <a:pt x="3334778" y="2783290"/>
                  <a:pt x="3329569" y="2792948"/>
                  <a:pt x="3319151" y="2800673"/>
                </a:cubicBezTo>
                <a:cubicBezTo>
                  <a:pt x="3305757" y="2811077"/>
                  <a:pt x="3286855" y="2816279"/>
                  <a:pt x="3262448" y="2816279"/>
                </a:cubicBezTo>
                <a:cubicBezTo>
                  <a:pt x="3240123" y="2816279"/>
                  <a:pt x="3222264" y="2811665"/>
                  <a:pt x="3208869" y="2802438"/>
                </a:cubicBezTo>
                <a:cubicBezTo>
                  <a:pt x="3195475" y="2793210"/>
                  <a:pt x="3185057" y="2777881"/>
                  <a:pt x="3177615" y="2756450"/>
                </a:cubicBezTo>
                <a:lnTo>
                  <a:pt x="2997236" y="2773416"/>
                </a:lnTo>
                <a:cubicBezTo>
                  <a:pt x="3007654" y="2818958"/>
                  <a:pt x="3031243" y="2854081"/>
                  <a:pt x="3068003" y="2878787"/>
                </a:cubicBezTo>
                <a:cubicBezTo>
                  <a:pt x="3104764" y="2903492"/>
                  <a:pt x="3166453" y="2915845"/>
                  <a:pt x="3253071" y="2915845"/>
                </a:cubicBezTo>
                <a:cubicBezTo>
                  <a:pt x="3314389" y="2915845"/>
                  <a:pt x="3362832" y="2908188"/>
                  <a:pt x="3398402" y="2892875"/>
                </a:cubicBezTo>
                <a:cubicBezTo>
                  <a:pt x="3433972" y="2877562"/>
                  <a:pt x="3460017" y="2856970"/>
                  <a:pt x="3476537" y="2831100"/>
                </a:cubicBezTo>
                <a:cubicBezTo>
                  <a:pt x="3493056" y="2805229"/>
                  <a:pt x="3501317" y="2778616"/>
                  <a:pt x="3501317" y="2751260"/>
                </a:cubicBezTo>
                <a:cubicBezTo>
                  <a:pt x="3501317" y="2724201"/>
                  <a:pt x="3493503" y="2699372"/>
                  <a:pt x="3477876" y="2676773"/>
                </a:cubicBezTo>
                <a:cubicBezTo>
                  <a:pt x="3462250" y="2654175"/>
                  <a:pt x="3439702" y="2636779"/>
                  <a:pt x="3410234" y="2624587"/>
                </a:cubicBezTo>
                <a:cubicBezTo>
                  <a:pt x="3380766" y="2612395"/>
                  <a:pt x="3335820" y="2602880"/>
                  <a:pt x="3275396" y="2596043"/>
                </a:cubicBezTo>
                <a:cubicBezTo>
                  <a:pt x="3235509" y="2591286"/>
                  <a:pt x="3209613" y="2585935"/>
                  <a:pt x="3197708" y="2579991"/>
                </a:cubicBezTo>
                <a:cubicBezTo>
                  <a:pt x="3185801" y="2574047"/>
                  <a:pt x="3179848" y="2565280"/>
                  <a:pt x="3179848" y="2553690"/>
                </a:cubicBezTo>
                <a:cubicBezTo>
                  <a:pt x="3179848" y="2543286"/>
                  <a:pt x="3184536" y="2534444"/>
                  <a:pt x="3193912" y="2527163"/>
                </a:cubicBezTo>
                <a:cubicBezTo>
                  <a:pt x="3203289" y="2519882"/>
                  <a:pt x="3218246" y="2516241"/>
                  <a:pt x="3238784" y="2516241"/>
                </a:cubicBezTo>
                <a:cubicBezTo>
                  <a:pt x="3259024" y="2516241"/>
                  <a:pt x="3276289" y="2521004"/>
                  <a:pt x="3290576" y="2530529"/>
                </a:cubicBezTo>
                <a:cubicBezTo>
                  <a:pt x="3300994" y="2537673"/>
                  <a:pt x="3308435" y="2548835"/>
                  <a:pt x="3312901" y="2564015"/>
                </a:cubicBezTo>
                <a:lnTo>
                  <a:pt x="3485243" y="2547049"/>
                </a:lnTo>
                <a:cubicBezTo>
                  <a:pt x="3473337" y="2516092"/>
                  <a:pt x="3458380" y="2491536"/>
                  <a:pt x="3440372" y="2473379"/>
                </a:cubicBezTo>
                <a:cubicBezTo>
                  <a:pt x="3422363" y="2455222"/>
                  <a:pt x="3399890" y="2441827"/>
                  <a:pt x="3372952" y="2433195"/>
                </a:cubicBezTo>
                <a:cubicBezTo>
                  <a:pt x="3346014" y="2424563"/>
                  <a:pt x="3304268" y="2420247"/>
                  <a:pt x="3247714" y="2420247"/>
                </a:cubicBezTo>
                <a:close/>
                <a:moveTo>
                  <a:pt x="2279884" y="2250583"/>
                </a:moveTo>
                <a:lnTo>
                  <a:pt x="2279884" y="2640552"/>
                </a:lnTo>
                <a:cubicBezTo>
                  <a:pt x="2279884" y="2672676"/>
                  <a:pt x="2286135" y="2709560"/>
                  <a:pt x="2298637" y="2751204"/>
                </a:cubicBezTo>
                <a:cubicBezTo>
                  <a:pt x="2306375" y="2777081"/>
                  <a:pt x="2320738" y="2802216"/>
                  <a:pt x="2341722" y="2826607"/>
                </a:cubicBezTo>
                <a:cubicBezTo>
                  <a:pt x="2362707" y="2850999"/>
                  <a:pt x="2385849" y="2869813"/>
                  <a:pt x="2411151" y="2883049"/>
                </a:cubicBezTo>
                <a:cubicBezTo>
                  <a:pt x="2436452" y="2896285"/>
                  <a:pt x="2467928" y="2905135"/>
                  <a:pt x="2505582" y="2909597"/>
                </a:cubicBezTo>
                <a:cubicBezTo>
                  <a:pt x="2543236" y="2914060"/>
                  <a:pt x="2577987" y="2916291"/>
                  <a:pt x="2609836" y="2916291"/>
                </a:cubicBezTo>
                <a:cubicBezTo>
                  <a:pt x="2664903" y="2916291"/>
                  <a:pt x="2712081" y="2909003"/>
                  <a:pt x="2751372" y="2894427"/>
                </a:cubicBezTo>
                <a:cubicBezTo>
                  <a:pt x="2779649" y="2884019"/>
                  <a:pt x="2806662" y="2865949"/>
                  <a:pt x="2832409" y="2840218"/>
                </a:cubicBezTo>
                <a:cubicBezTo>
                  <a:pt x="2858156" y="2814487"/>
                  <a:pt x="2877058" y="2784444"/>
                  <a:pt x="2889112" y="2750087"/>
                </a:cubicBezTo>
                <a:cubicBezTo>
                  <a:pt x="2901167" y="2715731"/>
                  <a:pt x="2907195" y="2679220"/>
                  <a:pt x="2907195" y="2640552"/>
                </a:cubicBezTo>
                <a:lnTo>
                  <a:pt x="2907195" y="2250583"/>
                </a:lnTo>
                <a:lnTo>
                  <a:pt x="2705384" y="2250583"/>
                </a:lnTo>
                <a:lnTo>
                  <a:pt x="2705384" y="2649838"/>
                </a:lnTo>
                <a:cubicBezTo>
                  <a:pt x="2705384" y="2686119"/>
                  <a:pt x="2695487" y="2714149"/>
                  <a:pt x="2675693" y="2733927"/>
                </a:cubicBezTo>
                <a:cubicBezTo>
                  <a:pt x="2655899" y="2753705"/>
                  <a:pt x="2628589" y="2763594"/>
                  <a:pt x="2593763" y="2763594"/>
                </a:cubicBezTo>
                <a:cubicBezTo>
                  <a:pt x="2558640" y="2763594"/>
                  <a:pt x="2531181" y="2753557"/>
                  <a:pt x="2511387" y="2733484"/>
                </a:cubicBezTo>
                <a:cubicBezTo>
                  <a:pt x="2491592" y="2713411"/>
                  <a:pt x="2481695" y="2685529"/>
                  <a:pt x="2481695" y="2649838"/>
                </a:cubicBezTo>
                <a:lnTo>
                  <a:pt x="2481695" y="2250583"/>
                </a:lnTo>
                <a:close/>
                <a:moveTo>
                  <a:pt x="4824994" y="2239421"/>
                </a:moveTo>
                <a:cubicBezTo>
                  <a:pt x="4719623" y="2239421"/>
                  <a:pt x="4638140" y="2268498"/>
                  <a:pt x="4580543" y="2326653"/>
                </a:cubicBezTo>
                <a:cubicBezTo>
                  <a:pt x="4522947" y="2384807"/>
                  <a:pt x="4494149" y="2468021"/>
                  <a:pt x="4494149" y="2576293"/>
                </a:cubicBezTo>
                <a:cubicBezTo>
                  <a:pt x="4494149" y="2657502"/>
                  <a:pt x="4510520" y="2724134"/>
                  <a:pt x="4543262" y="2776189"/>
                </a:cubicBezTo>
                <a:cubicBezTo>
                  <a:pt x="4576004" y="2828244"/>
                  <a:pt x="4614923" y="2864608"/>
                  <a:pt x="4660018" y="2885281"/>
                </a:cubicBezTo>
                <a:cubicBezTo>
                  <a:pt x="4705113" y="2905955"/>
                  <a:pt x="4763230" y="2916291"/>
                  <a:pt x="4834370" y="2916291"/>
                </a:cubicBezTo>
                <a:cubicBezTo>
                  <a:pt x="4893008" y="2916291"/>
                  <a:pt x="4941303" y="2907808"/>
                  <a:pt x="4979254" y="2890842"/>
                </a:cubicBezTo>
                <a:cubicBezTo>
                  <a:pt x="5017205" y="2873875"/>
                  <a:pt x="5048980" y="2848723"/>
                  <a:pt x="5074578" y="2815386"/>
                </a:cubicBezTo>
                <a:cubicBezTo>
                  <a:pt x="5100177" y="2782048"/>
                  <a:pt x="5118929" y="2740525"/>
                  <a:pt x="5130835" y="2690817"/>
                </a:cubicBezTo>
                <a:lnTo>
                  <a:pt x="4953581" y="2637239"/>
                </a:lnTo>
                <a:cubicBezTo>
                  <a:pt x="4944651" y="2678613"/>
                  <a:pt x="4930289" y="2710164"/>
                  <a:pt x="4910495" y="2731893"/>
                </a:cubicBezTo>
                <a:cubicBezTo>
                  <a:pt x="4890701" y="2753622"/>
                  <a:pt x="4861456" y="2764487"/>
                  <a:pt x="4822761" y="2764487"/>
                </a:cubicBezTo>
                <a:cubicBezTo>
                  <a:pt x="4782875" y="2764487"/>
                  <a:pt x="4751919" y="2751034"/>
                  <a:pt x="4729892" y="2724129"/>
                </a:cubicBezTo>
                <a:cubicBezTo>
                  <a:pt x="4707866" y="2697223"/>
                  <a:pt x="4696853" y="2647498"/>
                  <a:pt x="4696853" y="2574954"/>
                </a:cubicBezTo>
                <a:cubicBezTo>
                  <a:pt x="4696853" y="2516390"/>
                  <a:pt x="4706080" y="2473432"/>
                  <a:pt x="4724535" y="2446080"/>
                </a:cubicBezTo>
                <a:cubicBezTo>
                  <a:pt x="4748942" y="2409213"/>
                  <a:pt x="4784066" y="2390779"/>
                  <a:pt x="4829905" y="2390779"/>
                </a:cubicBezTo>
                <a:cubicBezTo>
                  <a:pt x="4850146" y="2390779"/>
                  <a:pt x="4868451" y="2394946"/>
                  <a:pt x="4884822" y="2403281"/>
                </a:cubicBezTo>
                <a:cubicBezTo>
                  <a:pt x="4901194" y="2411615"/>
                  <a:pt x="4915035" y="2423521"/>
                  <a:pt x="4926346" y="2438999"/>
                </a:cubicBezTo>
                <a:cubicBezTo>
                  <a:pt x="4933192" y="2448227"/>
                  <a:pt x="4939740" y="2462812"/>
                  <a:pt x="4945991" y="2482755"/>
                </a:cubicBezTo>
                <a:lnTo>
                  <a:pt x="5124585" y="2443018"/>
                </a:lnTo>
                <a:cubicBezTo>
                  <a:pt x="5101665" y="2373962"/>
                  <a:pt x="5066616" y="2322765"/>
                  <a:pt x="5019438" y="2289427"/>
                </a:cubicBezTo>
                <a:cubicBezTo>
                  <a:pt x="4972259" y="2256090"/>
                  <a:pt x="4907444" y="2239421"/>
                  <a:pt x="4824994" y="2239421"/>
                </a:cubicBezTo>
                <a:close/>
                <a:moveTo>
                  <a:pt x="5419562" y="1432326"/>
                </a:moveTo>
                <a:lnTo>
                  <a:pt x="5419562" y="1461348"/>
                </a:lnTo>
                <a:cubicBezTo>
                  <a:pt x="5419562" y="1483969"/>
                  <a:pt x="5415916" y="1502350"/>
                  <a:pt x="5408623" y="1516488"/>
                </a:cubicBezTo>
                <a:cubicBezTo>
                  <a:pt x="5401330" y="1530627"/>
                  <a:pt x="5388978" y="1542608"/>
                  <a:pt x="5371565" y="1552430"/>
                </a:cubicBezTo>
                <a:cubicBezTo>
                  <a:pt x="5354152" y="1562253"/>
                  <a:pt x="5335325" y="1567164"/>
                  <a:pt x="5315085" y="1567164"/>
                </a:cubicBezTo>
                <a:cubicBezTo>
                  <a:pt x="5295737" y="1567164"/>
                  <a:pt x="5281077" y="1562625"/>
                  <a:pt x="5271106" y="1553547"/>
                </a:cubicBezTo>
                <a:cubicBezTo>
                  <a:pt x="5261134" y="1544468"/>
                  <a:pt x="5256149" y="1532785"/>
                  <a:pt x="5256149" y="1518498"/>
                </a:cubicBezTo>
                <a:cubicBezTo>
                  <a:pt x="5256149" y="1505996"/>
                  <a:pt x="5261209" y="1494834"/>
                  <a:pt x="5271329" y="1485011"/>
                </a:cubicBezTo>
                <a:cubicBezTo>
                  <a:pt x="5281152" y="1475486"/>
                  <a:pt x="5304518" y="1465812"/>
                  <a:pt x="5341427" y="1455990"/>
                </a:cubicBezTo>
                <a:cubicBezTo>
                  <a:pt x="5368514" y="1449144"/>
                  <a:pt x="5394559" y="1441256"/>
                  <a:pt x="5419562" y="1432326"/>
                </a:cubicBezTo>
                <a:close/>
                <a:moveTo>
                  <a:pt x="4007630" y="1304185"/>
                </a:moveTo>
                <a:cubicBezTo>
                  <a:pt x="4030847" y="1304185"/>
                  <a:pt x="4050492" y="1313338"/>
                  <a:pt x="4066566" y="1331644"/>
                </a:cubicBezTo>
                <a:cubicBezTo>
                  <a:pt x="4082639" y="1349950"/>
                  <a:pt x="4090676" y="1376367"/>
                  <a:pt x="4090676" y="1410895"/>
                </a:cubicBezTo>
                <a:cubicBezTo>
                  <a:pt x="4090676" y="1445423"/>
                  <a:pt x="4083011" y="1471245"/>
                  <a:pt x="4067682" y="1488360"/>
                </a:cubicBezTo>
                <a:cubicBezTo>
                  <a:pt x="4052352" y="1505475"/>
                  <a:pt x="4033377" y="1514033"/>
                  <a:pt x="4010755" y="1514033"/>
                </a:cubicBezTo>
                <a:cubicBezTo>
                  <a:pt x="3986942" y="1514033"/>
                  <a:pt x="3967744" y="1505773"/>
                  <a:pt x="3953159" y="1489253"/>
                </a:cubicBezTo>
                <a:cubicBezTo>
                  <a:pt x="3938573" y="1472733"/>
                  <a:pt x="3931281" y="1447358"/>
                  <a:pt x="3931281" y="1413127"/>
                </a:cubicBezTo>
                <a:cubicBezTo>
                  <a:pt x="3931281" y="1374134"/>
                  <a:pt x="3938201" y="1346229"/>
                  <a:pt x="3952043" y="1329412"/>
                </a:cubicBezTo>
                <a:cubicBezTo>
                  <a:pt x="3965884" y="1312594"/>
                  <a:pt x="3984413" y="1304185"/>
                  <a:pt x="4007630" y="1304185"/>
                </a:cubicBezTo>
                <a:close/>
                <a:moveTo>
                  <a:pt x="2091468" y="1280075"/>
                </a:moveTo>
                <a:cubicBezTo>
                  <a:pt x="2116471" y="1280075"/>
                  <a:pt x="2136637" y="1287665"/>
                  <a:pt x="2151966" y="1302846"/>
                </a:cubicBezTo>
                <a:cubicBezTo>
                  <a:pt x="2167296" y="1318026"/>
                  <a:pt x="2176747" y="1343178"/>
                  <a:pt x="2180318" y="1378301"/>
                </a:cubicBezTo>
                <a:lnTo>
                  <a:pt x="2001278" y="1378301"/>
                </a:lnTo>
                <a:cubicBezTo>
                  <a:pt x="2004255" y="1350024"/>
                  <a:pt x="2011250" y="1328742"/>
                  <a:pt x="2022263" y="1314454"/>
                </a:cubicBezTo>
                <a:cubicBezTo>
                  <a:pt x="2039527" y="1291535"/>
                  <a:pt x="2062595" y="1280075"/>
                  <a:pt x="2091468" y="1280075"/>
                </a:cubicBezTo>
                <a:close/>
                <a:moveTo>
                  <a:pt x="7827155" y="1183188"/>
                </a:moveTo>
                <a:lnTo>
                  <a:pt x="7827155" y="1657354"/>
                </a:lnTo>
                <a:lnTo>
                  <a:pt x="8008874" y="1657354"/>
                </a:lnTo>
                <a:lnTo>
                  <a:pt x="8008874" y="1183188"/>
                </a:lnTo>
                <a:close/>
                <a:moveTo>
                  <a:pt x="6900551" y="1183188"/>
                </a:moveTo>
                <a:lnTo>
                  <a:pt x="7076375" y="1657354"/>
                </a:lnTo>
                <a:lnTo>
                  <a:pt x="7238811" y="1657354"/>
                </a:lnTo>
                <a:lnTo>
                  <a:pt x="7331631" y="1372051"/>
                </a:lnTo>
                <a:lnTo>
                  <a:pt x="7427674" y="1657354"/>
                </a:lnTo>
                <a:lnTo>
                  <a:pt x="7589385" y="1657354"/>
                </a:lnTo>
                <a:lnTo>
                  <a:pt x="7764051" y="1183188"/>
                </a:lnTo>
                <a:lnTo>
                  <a:pt x="7589427" y="1183188"/>
                </a:lnTo>
                <a:lnTo>
                  <a:pt x="7512967" y="1482479"/>
                </a:lnTo>
                <a:lnTo>
                  <a:pt x="7412689" y="1183188"/>
                </a:lnTo>
                <a:lnTo>
                  <a:pt x="7248474" y="1183188"/>
                </a:lnTo>
                <a:lnTo>
                  <a:pt x="7152277" y="1481725"/>
                </a:lnTo>
                <a:lnTo>
                  <a:pt x="7076263" y="1183188"/>
                </a:lnTo>
                <a:close/>
                <a:moveTo>
                  <a:pt x="4388630" y="1183188"/>
                </a:moveTo>
                <a:lnTo>
                  <a:pt x="4388630" y="1657354"/>
                </a:lnTo>
                <a:lnTo>
                  <a:pt x="4570349" y="1657354"/>
                </a:lnTo>
                <a:lnTo>
                  <a:pt x="4570349" y="1183188"/>
                </a:lnTo>
                <a:close/>
                <a:moveTo>
                  <a:pt x="3474230" y="1183188"/>
                </a:moveTo>
                <a:lnTo>
                  <a:pt x="3474230" y="1657354"/>
                </a:lnTo>
                <a:lnTo>
                  <a:pt x="3655949" y="1657354"/>
                </a:lnTo>
                <a:lnTo>
                  <a:pt x="3655949" y="1183188"/>
                </a:lnTo>
                <a:close/>
                <a:moveTo>
                  <a:pt x="8465925" y="1172472"/>
                </a:moveTo>
                <a:cubicBezTo>
                  <a:pt x="8428718" y="1172472"/>
                  <a:pt x="8397166" y="1179244"/>
                  <a:pt x="8371270" y="1192787"/>
                </a:cubicBezTo>
                <a:cubicBezTo>
                  <a:pt x="8345374" y="1206331"/>
                  <a:pt x="8319776" y="1228878"/>
                  <a:pt x="8294475" y="1260430"/>
                </a:cubicBezTo>
                <a:lnTo>
                  <a:pt x="8294475" y="1183188"/>
                </a:lnTo>
                <a:lnTo>
                  <a:pt x="8125257" y="1183188"/>
                </a:lnTo>
                <a:lnTo>
                  <a:pt x="8125257" y="1657354"/>
                </a:lnTo>
                <a:lnTo>
                  <a:pt x="8306976" y="1657354"/>
                </a:lnTo>
                <a:lnTo>
                  <a:pt x="8306976" y="1429647"/>
                </a:lnTo>
                <a:cubicBezTo>
                  <a:pt x="8306976" y="1386487"/>
                  <a:pt x="8313822" y="1356572"/>
                  <a:pt x="8327515" y="1339904"/>
                </a:cubicBezTo>
                <a:cubicBezTo>
                  <a:pt x="8341207" y="1323235"/>
                  <a:pt x="8359066" y="1314901"/>
                  <a:pt x="8381093" y="1314901"/>
                </a:cubicBezTo>
                <a:cubicBezTo>
                  <a:pt x="8401036" y="1314901"/>
                  <a:pt x="8416514" y="1321077"/>
                  <a:pt x="8427527" y="1333430"/>
                </a:cubicBezTo>
                <a:cubicBezTo>
                  <a:pt x="8438540" y="1345782"/>
                  <a:pt x="8444047" y="1366842"/>
                  <a:pt x="8444047" y="1396607"/>
                </a:cubicBezTo>
                <a:lnTo>
                  <a:pt x="8444047" y="1657354"/>
                </a:lnTo>
                <a:lnTo>
                  <a:pt x="8626659" y="1657354"/>
                </a:lnTo>
                <a:lnTo>
                  <a:pt x="8626659" y="1355977"/>
                </a:lnTo>
                <a:cubicBezTo>
                  <a:pt x="8626659" y="1293469"/>
                  <a:pt x="8612446" y="1247258"/>
                  <a:pt x="8584020" y="1217344"/>
                </a:cubicBezTo>
                <a:cubicBezTo>
                  <a:pt x="8555594" y="1187429"/>
                  <a:pt x="8516228" y="1172472"/>
                  <a:pt x="8465925" y="1172472"/>
                </a:cubicBezTo>
                <a:close/>
                <a:moveTo>
                  <a:pt x="5333390" y="1172472"/>
                </a:moveTo>
                <a:cubicBezTo>
                  <a:pt x="5299458" y="1172472"/>
                  <a:pt x="5267906" y="1175002"/>
                  <a:pt x="5238736" y="1180062"/>
                </a:cubicBezTo>
                <a:cubicBezTo>
                  <a:pt x="5209565" y="1185123"/>
                  <a:pt x="5186646" y="1192266"/>
                  <a:pt x="5169977" y="1201494"/>
                </a:cubicBezTo>
                <a:cubicBezTo>
                  <a:pt x="5146760" y="1214293"/>
                  <a:pt x="5128975" y="1229399"/>
                  <a:pt x="5116622" y="1246812"/>
                </a:cubicBezTo>
                <a:cubicBezTo>
                  <a:pt x="5104270" y="1264225"/>
                  <a:pt x="5094819" y="1288112"/>
                  <a:pt x="5088271" y="1318473"/>
                </a:cubicBezTo>
                <a:lnTo>
                  <a:pt x="5261953" y="1336778"/>
                </a:lnTo>
                <a:cubicBezTo>
                  <a:pt x="5269097" y="1316240"/>
                  <a:pt x="5278473" y="1302250"/>
                  <a:pt x="5290081" y="1294809"/>
                </a:cubicBezTo>
                <a:cubicBezTo>
                  <a:pt x="5304964" y="1285284"/>
                  <a:pt x="5327288" y="1280521"/>
                  <a:pt x="5357054" y="1280521"/>
                </a:cubicBezTo>
                <a:cubicBezTo>
                  <a:pt x="5380271" y="1280521"/>
                  <a:pt x="5396494" y="1284986"/>
                  <a:pt x="5405721" y="1293916"/>
                </a:cubicBezTo>
                <a:cubicBezTo>
                  <a:pt x="5414948" y="1302846"/>
                  <a:pt x="5419562" y="1318473"/>
                  <a:pt x="5419562" y="1340797"/>
                </a:cubicBezTo>
                <a:cubicBezTo>
                  <a:pt x="5396940" y="1349726"/>
                  <a:pt x="5375509" y="1356945"/>
                  <a:pt x="5355268" y="1362451"/>
                </a:cubicBezTo>
                <a:cubicBezTo>
                  <a:pt x="5335028" y="1367958"/>
                  <a:pt x="5290826" y="1377557"/>
                  <a:pt x="5222662" y="1391249"/>
                </a:cubicBezTo>
                <a:cubicBezTo>
                  <a:pt x="5165810" y="1402560"/>
                  <a:pt x="5126817" y="1419824"/>
                  <a:pt x="5105683" y="1443042"/>
                </a:cubicBezTo>
                <a:cubicBezTo>
                  <a:pt x="5084550" y="1466259"/>
                  <a:pt x="5073983" y="1495876"/>
                  <a:pt x="5073983" y="1531892"/>
                </a:cubicBezTo>
                <a:cubicBezTo>
                  <a:pt x="5073983" y="1570290"/>
                  <a:pt x="5088643" y="1602585"/>
                  <a:pt x="5117962" y="1628779"/>
                </a:cubicBezTo>
                <a:cubicBezTo>
                  <a:pt x="5147281" y="1654973"/>
                  <a:pt x="5190218" y="1668070"/>
                  <a:pt x="5246772" y="1668070"/>
                </a:cubicBezTo>
                <a:cubicBezTo>
                  <a:pt x="5289337" y="1668070"/>
                  <a:pt x="5326693" y="1661521"/>
                  <a:pt x="5358840" y="1648425"/>
                </a:cubicBezTo>
                <a:cubicBezTo>
                  <a:pt x="5382355" y="1638602"/>
                  <a:pt x="5406019" y="1622231"/>
                  <a:pt x="5429831" y="1599311"/>
                </a:cubicBezTo>
                <a:cubicBezTo>
                  <a:pt x="5431915" y="1613003"/>
                  <a:pt x="5433998" y="1623049"/>
                  <a:pt x="5436082" y="1629449"/>
                </a:cubicBezTo>
                <a:cubicBezTo>
                  <a:pt x="5438165" y="1635848"/>
                  <a:pt x="5442630" y="1645150"/>
                  <a:pt x="5449476" y="1657354"/>
                </a:cubicBezTo>
                <a:lnTo>
                  <a:pt x="5620033" y="1657354"/>
                </a:lnTo>
                <a:cubicBezTo>
                  <a:pt x="5610508" y="1637709"/>
                  <a:pt x="5604332" y="1621561"/>
                  <a:pt x="5601504" y="1608911"/>
                </a:cubicBezTo>
                <a:cubicBezTo>
                  <a:pt x="5598677" y="1596260"/>
                  <a:pt x="5597263" y="1578773"/>
                  <a:pt x="5597263" y="1556449"/>
                </a:cubicBezTo>
                <a:lnTo>
                  <a:pt x="5597263" y="1347048"/>
                </a:lnTo>
                <a:cubicBezTo>
                  <a:pt x="5597263" y="1324723"/>
                  <a:pt x="5592798" y="1301283"/>
                  <a:pt x="5583868" y="1276726"/>
                </a:cubicBezTo>
                <a:cubicBezTo>
                  <a:pt x="5574938" y="1252170"/>
                  <a:pt x="5562735" y="1233194"/>
                  <a:pt x="5547256" y="1219799"/>
                </a:cubicBezTo>
                <a:cubicBezTo>
                  <a:pt x="5525230" y="1200452"/>
                  <a:pt x="5497697" y="1187727"/>
                  <a:pt x="5464657" y="1181625"/>
                </a:cubicBezTo>
                <a:cubicBezTo>
                  <a:pt x="5431617" y="1175523"/>
                  <a:pt x="5387862" y="1172472"/>
                  <a:pt x="5333390" y="1172472"/>
                </a:cubicBezTo>
                <a:close/>
                <a:moveTo>
                  <a:pt x="3943783" y="1172472"/>
                </a:moveTo>
                <a:cubicBezTo>
                  <a:pt x="3886038" y="1172472"/>
                  <a:pt x="3839305" y="1191820"/>
                  <a:pt x="3803587" y="1230515"/>
                </a:cubicBezTo>
                <a:cubicBezTo>
                  <a:pt x="3767868" y="1269210"/>
                  <a:pt x="3750008" y="1325467"/>
                  <a:pt x="3750008" y="1399286"/>
                </a:cubicBezTo>
                <a:cubicBezTo>
                  <a:pt x="3750008" y="1463878"/>
                  <a:pt x="3763849" y="1515819"/>
                  <a:pt x="3791531" y="1555109"/>
                </a:cubicBezTo>
                <a:cubicBezTo>
                  <a:pt x="3830524" y="1610473"/>
                  <a:pt x="3881721" y="1638155"/>
                  <a:pt x="3945122" y="1638155"/>
                </a:cubicBezTo>
                <a:cubicBezTo>
                  <a:pt x="3977567" y="1638155"/>
                  <a:pt x="4007779" y="1630714"/>
                  <a:pt x="4035758" y="1615831"/>
                </a:cubicBezTo>
                <a:cubicBezTo>
                  <a:pt x="4053618" y="1606306"/>
                  <a:pt x="4071477" y="1590977"/>
                  <a:pt x="4089337" y="1569843"/>
                </a:cubicBezTo>
                <a:lnTo>
                  <a:pt x="4089337" y="1641727"/>
                </a:lnTo>
                <a:cubicBezTo>
                  <a:pt x="4089337" y="1676553"/>
                  <a:pt x="4082862" y="1700961"/>
                  <a:pt x="4069914" y="1714951"/>
                </a:cubicBezTo>
                <a:cubicBezTo>
                  <a:pt x="4056966" y="1728940"/>
                  <a:pt x="4037396" y="1735935"/>
                  <a:pt x="4011202" y="1735935"/>
                </a:cubicBezTo>
                <a:cubicBezTo>
                  <a:pt x="3990961" y="1735935"/>
                  <a:pt x="3974144" y="1731322"/>
                  <a:pt x="3960749" y="1722094"/>
                </a:cubicBezTo>
                <a:cubicBezTo>
                  <a:pt x="3951522" y="1715844"/>
                  <a:pt x="3944676" y="1704533"/>
                  <a:pt x="3940211" y="1688162"/>
                </a:cubicBezTo>
                <a:lnTo>
                  <a:pt x="3763849" y="1668070"/>
                </a:lnTo>
                <a:cubicBezTo>
                  <a:pt x="3763254" y="1678190"/>
                  <a:pt x="3762956" y="1686227"/>
                  <a:pt x="3762956" y="1692180"/>
                </a:cubicBezTo>
                <a:cubicBezTo>
                  <a:pt x="3762956" y="1740103"/>
                  <a:pt x="3780741" y="1778351"/>
                  <a:pt x="3816311" y="1806926"/>
                </a:cubicBezTo>
                <a:cubicBezTo>
                  <a:pt x="3851881" y="1835501"/>
                  <a:pt x="3917291" y="1849789"/>
                  <a:pt x="4012541" y="1849789"/>
                </a:cubicBezTo>
                <a:cubicBezTo>
                  <a:pt x="4054213" y="1849789"/>
                  <a:pt x="4091197" y="1846068"/>
                  <a:pt x="4123492" y="1838627"/>
                </a:cubicBezTo>
                <a:cubicBezTo>
                  <a:pt x="4155788" y="1831185"/>
                  <a:pt x="4182428" y="1819130"/>
                  <a:pt x="4203413" y="1802462"/>
                </a:cubicBezTo>
                <a:cubicBezTo>
                  <a:pt x="4224398" y="1785793"/>
                  <a:pt x="4241215" y="1763990"/>
                  <a:pt x="4253866" y="1737052"/>
                </a:cubicBezTo>
                <a:cubicBezTo>
                  <a:pt x="4266516" y="1710114"/>
                  <a:pt x="4272841" y="1681762"/>
                  <a:pt x="4272841" y="1651996"/>
                </a:cubicBezTo>
                <a:lnTo>
                  <a:pt x="4272395" y="1631012"/>
                </a:lnTo>
                <a:lnTo>
                  <a:pt x="4272395" y="1183188"/>
                </a:lnTo>
                <a:lnTo>
                  <a:pt x="4102284" y="1183188"/>
                </a:lnTo>
                <a:lnTo>
                  <a:pt x="4102284" y="1253286"/>
                </a:lnTo>
                <a:cubicBezTo>
                  <a:pt x="4081448" y="1224413"/>
                  <a:pt x="4059050" y="1203726"/>
                  <a:pt x="4035088" y="1191224"/>
                </a:cubicBezTo>
                <a:cubicBezTo>
                  <a:pt x="4011127" y="1178723"/>
                  <a:pt x="3980691" y="1172472"/>
                  <a:pt x="3943783" y="1172472"/>
                </a:cubicBezTo>
                <a:close/>
                <a:moveTo>
                  <a:pt x="2083878" y="1172472"/>
                </a:moveTo>
                <a:cubicBezTo>
                  <a:pt x="2000236" y="1172472"/>
                  <a:pt x="1934677" y="1195392"/>
                  <a:pt x="1887201" y="1241231"/>
                </a:cubicBezTo>
                <a:cubicBezTo>
                  <a:pt x="1839725" y="1287070"/>
                  <a:pt x="1815987" y="1347048"/>
                  <a:pt x="1815987" y="1421164"/>
                </a:cubicBezTo>
                <a:cubicBezTo>
                  <a:pt x="1815987" y="1473254"/>
                  <a:pt x="1827819" y="1518572"/>
                  <a:pt x="1851483" y="1557118"/>
                </a:cubicBezTo>
                <a:cubicBezTo>
                  <a:pt x="1875146" y="1595665"/>
                  <a:pt x="1904986" y="1623794"/>
                  <a:pt x="1941003" y="1641504"/>
                </a:cubicBezTo>
                <a:cubicBezTo>
                  <a:pt x="1977019" y="1659214"/>
                  <a:pt x="2026430" y="1668070"/>
                  <a:pt x="2089235" y="1668070"/>
                </a:cubicBezTo>
                <a:cubicBezTo>
                  <a:pt x="2161566" y="1668070"/>
                  <a:pt x="2217079" y="1657726"/>
                  <a:pt x="2255774" y="1637039"/>
                </a:cubicBezTo>
                <a:cubicBezTo>
                  <a:pt x="2294469" y="1616352"/>
                  <a:pt x="2327509" y="1582196"/>
                  <a:pt x="2354894" y="1534571"/>
                </a:cubicBezTo>
                <a:lnTo>
                  <a:pt x="2175853" y="1518051"/>
                </a:lnTo>
                <a:cubicBezTo>
                  <a:pt x="2164543" y="1532339"/>
                  <a:pt x="2153976" y="1542310"/>
                  <a:pt x="2144153" y="1547966"/>
                </a:cubicBezTo>
                <a:cubicBezTo>
                  <a:pt x="2128080" y="1556895"/>
                  <a:pt x="2111113" y="1561360"/>
                  <a:pt x="2093254" y="1561360"/>
                </a:cubicBezTo>
                <a:cubicBezTo>
                  <a:pt x="2064976" y="1561360"/>
                  <a:pt x="2042057" y="1551091"/>
                  <a:pt x="2024495" y="1530553"/>
                </a:cubicBezTo>
                <a:cubicBezTo>
                  <a:pt x="2011994" y="1516265"/>
                  <a:pt x="2004106" y="1494536"/>
                  <a:pt x="2000832" y="1465366"/>
                </a:cubicBezTo>
                <a:lnTo>
                  <a:pt x="2365163" y="1465366"/>
                </a:lnTo>
                <a:lnTo>
                  <a:pt x="2365163" y="1444828"/>
                </a:lnTo>
                <a:cubicBezTo>
                  <a:pt x="2365163" y="1382320"/>
                  <a:pt x="2354894" y="1331569"/>
                  <a:pt x="2334356" y="1292576"/>
                </a:cubicBezTo>
                <a:cubicBezTo>
                  <a:pt x="2313817" y="1253583"/>
                  <a:pt x="2283902" y="1223818"/>
                  <a:pt x="2244612" y="1203279"/>
                </a:cubicBezTo>
                <a:cubicBezTo>
                  <a:pt x="2205321" y="1182741"/>
                  <a:pt x="2151743" y="1172472"/>
                  <a:pt x="2083878" y="1172472"/>
                </a:cubicBezTo>
                <a:close/>
                <a:moveTo>
                  <a:pt x="2970149" y="1151041"/>
                </a:moveTo>
                <a:lnTo>
                  <a:pt x="3020602" y="1151041"/>
                </a:lnTo>
                <a:cubicBezTo>
                  <a:pt x="3072989" y="1151041"/>
                  <a:pt x="3110494" y="1163840"/>
                  <a:pt x="3133116" y="1189438"/>
                </a:cubicBezTo>
                <a:cubicBezTo>
                  <a:pt x="3155737" y="1215037"/>
                  <a:pt x="3167048" y="1262513"/>
                  <a:pt x="3167048" y="1331867"/>
                </a:cubicBezTo>
                <a:cubicBezTo>
                  <a:pt x="3167048" y="1384255"/>
                  <a:pt x="3161988" y="1422131"/>
                  <a:pt x="3151868" y="1445497"/>
                </a:cubicBezTo>
                <a:cubicBezTo>
                  <a:pt x="3141747" y="1468863"/>
                  <a:pt x="3127758" y="1485234"/>
                  <a:pt x="3109899" y="1494611"/>
                </a:cubicBezTo>
                <a:cubicBezTo>
                  <a:pt x="3092039" y="1503987"/>
                  <a:pt x="3061976" y="1508675"/>
                  <a:pt x="3019709" y="1508675"/>
                </a:cubicBezTo>
                <a:lnTo>
                  <a:pt x="2970149" y="1508675"/>
                </a:lnTo>
                <a:close/>
                <a:moveTo>
                  <a:pt x="7827155" y="1002808"/>
                </a:moveTo>
                <a:lnTo>
                  <a:pt x="7827155" y="1126484"/>
                </a:lnTo>
                <a:lnTo>
                  <a:pt x="8008874" y="1126484"/>
                </a:lnTo>
                <a:lnTo>
                  <a:pt x="8008874" y="1002808"/>
                </a:lnTo>
                <a:close/>
                <a:moveTo>
                  <a:pt x="6272049" y="1002808"/>
                </a:moveTo>
                <a:lnTo>
                  <a:pt x="6272049" y="1164436"/>
                </a:lnTo>
                <a:lnTo>
                  <a:pt x="6478325" y="1164436"/>
                </a:lnTo>
                <a:lnTo>
                  <a:pt x="6478325" y="1657354"/>
                </a:lnTo>
                <a:lnTo>
                  <a:pt x="6680583" y="1657354"/>
                </a:lnTo>
                <a:lnTo>
                  <a:pt x="6680583" y="1164436"/>
                </a:lnTo>
                <a:lnTo>
                  <a:pt x="6886858" y="1164436"/>
                </a:lnTo>
                <a:lnTo>
                  <a:pt x="6886858" y="1002808"/>
                </a:lnTo>
                <a:close/>
                <a:moveTo>
                  <a:pt x="5712158" y="1002808"/>
                </a:moveTo>
                <a:lnTo>
                  <a:pt x="5712158" y="1657354"/>
                </a:lnTo>
                <a:lnTo>
                  <a:pt x="5894324" y="1657354"/>
                </a:lnTo>
                <a:lnTo>
                  <a:pt x="5894324" y="1002808"/>
                </a:lnTo>
                <a:close/>
                <a:moveTo>
                  <a:pt x="4905956" y="1002808"/>
                </a:moveTo>
                <a:lnTo>
                  <a:pt x="4723790" y="1096123"/>
                </a:lnTo>
                <a:lnTo>
                  <a:pt x="4723790" y="1183188"/>
                </a:lnTo>
                <a:lnTo>
                  <a:pt x="4656818" y="1183188"/>
                </a:lnTo>
                <a:lnTo>
                  <a:pt x="4656818" y="1316240"/>
                </a:lnTo>
                <a:lnTo>
                  <a:pt x="4723790" y="1316240"/>
                </a:lnTo>
                <a:lnTo>
                  <a:pt x="4723790" y="1483016"/>
                </a:lnTo>
                <a:cubicBezTo>
                  <a:pt x="4723790" y="1535929"/>
                  <a:pt x="4728925" y="1574202"/>
                  <a:pt x="4739194" y="1597836"/>
                </a:cubicBezTo>
                <a:cubicBezTo>
                  <a:pt x="4749463" y="1621469"/>
                  <a:pt x="4765313" y="1639083"/>
                  <a:pt x="4786745" y="1650678"/>
                </a:cubicBezTo>
                <a:cubicBezTo>
                  <a:pt x="4808176" y="1662272"/>
                  <a:pt x="4841513" y="1668070"/>
                  <a:pt x="4886757" y="1668070"/>
                </a:cubicBezTo>
                <a:cubicBezTo>
                  <a:pt x="4925750" y="1668070"/>
                  <a:pt x="4967720" y="1663159"/>
                  <a:pt x="5012666" y="1653336"/>
                </a:cubicBezTo>
                <a:lnTo>
                  <a:pt x="4999271" y="1527895"/>
                </a:lnTo>
                <a:cubicBezTo>
                  <a:pt x="4975161" y="1535620"/>
                  <a:pt x="4956409" y="1539482"/>
                  <a:pt x="4943014" y="1539482"/>
                </a:cubicBezTo>
                <a:cubicBezTo>
                  <a:pt x="4928131" y="1539482"/>
                  <a:pt x="4917713" y="1534431"/>
                  <a:pt x="4911760" y="1524330"/>
                </a:cubicBezTo>
                <a:cubicBezTo>
                  <a:pt x="4907891" y="1517795"/>
                  <a:pt x="4905956" y="1504429"/>
                  <a:pt x="4905956" y="1484230"/>
                </a:cubicBezTo>
                <a:lnTo>
                  <a:pt x="4905956" y="1316240"/>
                </a:lnTo>
                <a:lnTo>
                  <a:pt x="5005969" y="1316240"/>
                </a:lnTo>
                <a:lnTo>
                  <a:pt x="5005969" y="1183188"/>
                </a:lnTo>
                <a:lnTo>
                  <a:pt x="4905956" y="1183188"/>
                </a:lnTo>
                <a:close/>
                <a:moveTo>
                  <a:pt x="4388630" y="1002808"/>
                </a:moveTo>
                <a:lnTo>
                  <a:pt x="4388630" y="1126484"/>
                </a:lnTo>
                <a:lnTo>
                  <a:pt x="4570349" y="1126484"/>
                </a:lnTo>
                <a:lnTo>
                  <a:pt x="4570349" y="1002808"/>
                </a:lnTo>
                <a:close/>
                <a:moveTo>
                  <a:pt x="3474230" y="1002808"/>
                </a:moveTo>
                <a:lnTo>
                  <a:pt x="3474230" y="1126484"/>
                </a:lnTo>
                <a:lnTo>
                  <a:pt x="3655949" y="1126484"/>
                </a:lnTo>
                <a:lnTo>
                  <a:pt x="3655949" y="1002808"/>
                </a:lnTo>
                <a:close/>
                <a:moveTo>
                  <a:pt x="2767892" y="1002808"/>
                </a:moveTo>
                <a:lnTo>
                  <a:pt x="2767892" y="1657354"/>
                </a:lnTo>
                <a:lnTo>
                  <a:pt x="3068376" y="1657354"/>
                </a:lnTo>
                <a:cubicBezTo>
                  <a:pt x="3104391" y="1657354"/>
                  <a:pt x="3144575" y="1651401"/>
                  <a:pt x="3188926" y="1639495"/>
                </a:cubicBezTo>
                <a:cubicBezTo>
                  <a:pt x="3221371" y="1630863"/>
                  <a:pt x="3251732" y="1613524"/>
                  <a:pt x="3280009" y="1587479"/>
                </a:cubicBezTo>
                <a:cubicBezTo>
                  <a:pt x="3308287" y="1561434"/>
                  <a:pt x="3330388" y="1529139"/>
                  <a:pt x="3346312" y="1490592"/>
                </a:cubicBezTo>
                <a:cubicBezTo>
                  <a:pt x="3362236" y="1452046"/>
                  <a:pt x="3370199" y="1397798"/>
                  <a:pt x="3370199" y="1327849"/>
                </a:cubicBezTo>
                <a:cubicBezTo>
                  <a:pt x="3370199" y="1283200"/>
                  <a:pt x="3364841" y="1240933"/>
                  <a:pt x="3354126" y="1201047"/>
                </a:cubicBezTo>
                <a:cubicBezTo>
                  <a:pt x="3343410" y="1161161"/>
                  <a:pt x="3326145" y="1126187"/>
                  <a:pt x="3302333" y="1096123"/>
                </a:cubicBezTo>
                <a:cubicBezTo>
                  <a:pt x="3278521" y="1066060"/>
                  <a:pt x="3248383" y="1042992"/>
                  <a:pt x="3211920" y="1026918"/>
                </a:cubicBezTo>
                <a:cubicBezTo>
                  <a:pt x="3175457" y="1010845"/>
                  <a:pt x="3127609" y="1002808"/>
                  <a:pt x="3068376" y="1002808"/>
                </a:cubicBezTo>
                <a:close/>
                <a:moveTo>
                  <a:pt x="1229158" y="1002808"/>
                </a:moveTo>
                <a:lnTo>
                  <a:pt x="1229158" y="1657354"/>
                </a:lnTo>
                <a:lnTo>
                  <a:pt x="1410877" y="1657354"/>
                </a:lnTo>
                <a:lnTo>
                  <a:pt x="1410877" y="1429647"/>
                </a:lnTo>
                <a:cubicBezTo>
                  <a:pt x="1410877" y="1386487"/>
                  <a:pt x="1417723" y="1356572"/>
                  <a:pt x="1431415" y="1339904"/>
                </a:cubicBezTo>
                <a:cubicBezTo>
                  <a:pt x="1445107" y="1323235"/>
                  <a:pt x="1462967" y="1314901"/>
                  <a:pt x="1484993" y="1314901"/>
                </a:cubicBezTo>
                <a:cubicBezTo>
                  <a:pt x="1504936" y="1314901"/>
                  <a:pt x="1520414" y="1321077"/>
                  <a:pt x="1531428" y="1333430"/>
                </a:cubicBezTo>
                <a:cubicBezTo>
                  <a:pt x="1542441" y="1345782"/>
                  <a:pt x="1547948" y="1366842"/>
                  <a:pt x="1547948" y="1396607"/>
                </a:cubicBezTo>
                <a:lnTo>
                  <a:pt x="1547948" y="1657354"/>
                </a:lnTo>
                <a:lnTo>
                  <a:pt x="1730560" y="1657354"/>
                </a:lnTo>
                <a:lnTo>
                  <a:pt x="1730560" y="1355977"/>
                </a:lnTo>
                <a:cubicBezTo>
                  <a:pt x="1730560" y="1293767"/>
                  <a:pt x="1716347" y="1247630"/>
                  <a:pt x="1687920" y="1217567"/>
                </a:cubicBezTo>
                <a:cubicBezTo>
                  <a:pt x="1659494" y="1187504"/>
                  <a:pt x="1620576" y="1172472"/>
                  <a:pt x="1571165" y="1172472"/>
                </a:cubicBezTo>
                <a:cubicBezTo>
                  <a:pt x="1537827" y="1172472"/>
                  <a:pt x="1508954" y="1177979"/>
                  <a:pt x="1484547" y="1188992"/>
                </a:cubicBezTo>
                <a:cubicBezTo>
                  <a:pt x="1460139" y="1200006"/>
                  <a:pt x="1435582" y="1218311"/>
                  <a:pt x="1410877" y="1243910"/>
                </a:cubicBezTo>
                <a:lnTo>
                  <a:pt x="1410877" y="1002808"/>
                </a:lnTo>
                <a:close/>
                <a:moveTo>
                  <a:pt x="509425" y="1002808"/>
                </a:moveTo>
                <a:lnTo>
                  <a:pt x="509425" y="1164436"/>
                </a:lnTo>
                <a:lnTo>
                  <a:pt x="715701" y="1164436"/>
                </a:lnTo>
                <a:lnTo>
                  <a:pt x="715701" y="1657354"/>
                </a:lnTo>
                <a:lnTo>
                  <a:pt x="917958" y="1657354"/>
                </a:lnTo>
                <a:lnTo>
                  <a:pt x="917958" y="1164436"/>
                </a:lnTo>
                <a:lnTo>
                  <a:pt x="1124234" y="1164436"/>
                </a:lnTo>
                <a:lnTo>
                  <a:pt x="1124234" y="1002808"/>
                </a:lnTo>
                <a:close/>
                <a:moveTo>
                  <a:pt x="0" y="0"/>
                </a:moveTo>
                <a:lnTo>
                  <a:pt x="9144000" y="0"/>
                </a:lnTo>
                <a:lnTo>
                  <a:pt x="9144000" y="4787365"/>
                </a:lnTo>
                <a:lnTo>
                  <a:pt x="0" y="478736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latin typeface="Arial Black" panose="020B0A04020102020204" pitchFamily="34" charset="0"/>
            </a:endParaRPr>
          </a:p>
        </p:txBody>
      </p:sp>
    </p:spTree>
    <p:extLst>
      <p:ext uri="{BB962C8B-B14F-4D97-AF65-F5344CB8AC3E}">
        <p14:creationId xmlns:p14="http://schemas.microsoft.com/office/powerpoint/2010/main" val="1893863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C9C4D-7AF8-162D-ECF3-DEF4825A6FD6}"/>
              </a:ext>
            </a:extLst>
          </p:cNvPr>
          <p:cNvSpPr>
            <a:spLocks noGrp="1"/>
          </p:cNvSpPr>
          <p:nvPr>
            <p:ph type="title"/>
          </p:nvPr>
        </p:nvSpPr>
        <p:spPr/>
        <p:txBody>
          <a:bodyPr/>
          <a:lstStyle/>
          <a:p>
            <a:r>
              <a:rPr lang="en-US" dirty="0"/>
              <a:t>Production &amp; Operation Twins Business Model Canvas</a:t>
            </a:r>
          </a:p>
        </p:txBody>
      </p:sp>
      <p:sp>
        <p:nvSpPr>
          <p:cNvPr id="3" name="Trapezoid 2">
            <a:hlinkClick r:id="rId2" action="ppaction://hlinksldjump"/>
            <a:extLst>
              <a:ext uri="{FF2B5EF4-FFF2-40B4-BE49-F238E27FC236}">
                <a16:creationId xmlns:a16="http://schemas.microsoft.com/office/drawing/2014/main" id="{17A2B519-4CC6-8E45-2B35-E3DD14A24EE1}"/>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4" name="Trapezoid 3">
            <a:hlinkClick r:id="rId3" action="ppaction://hlinksldjump"/>
            <a:extLst>
              <a:ext uri="{FF2B5EF4-FFF2-40B4-BE49-F238E27FC236}">
                <a16:creationId xmlns:a16="http://schemas.microsoft.com/office/drawing/2014/main" id="{5571F1D4-EDCC-5319-0072-9E9E5CF994DD}"/>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2" name="Trapezoid 11">
            <a:hlinkClick r:id="rId4" action="ppaction://hlinksldjump"/>
            <a:extLst>
              <a:ext uri="{FF2B5EF4-FFF2-40B4-BE49-F238E27FC236}">
                <a16:creationId xmlns:a16="http://schemas.microsoft.com/office/drawing/2014/main" id="{FF745D2E-9C16-2BF8-3482-B3577E0D038A}"/>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5" action="ppaction://hlinksldjump"/>
            <a:extLst>
              <a:ext uri="{FF2B5EF4-FFF2-40B4-BE49-F238E27FC236}">
                <a16:creationId xmlns:a16="http://schemas.microsoft.com/office/drawing/2014/main" id="{2A32D53B-9ED2-029E-5A0D-7F6C1C5D0BEF}"/>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6" action="ppaction://hlinksldjump"/>
            <a:extLst>
              <a:ext uri="{FF2B5EF4-FFF2-40B4-BE49-F238E27FC236}">
                <a16:creationId xmlns:a16="http://schemas.microsoft.com/office/drawing/2014/main" id="{47D55C93-9FE8-2155-3EB3-53BF7A5990E8}"/>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7" action="ppaction://hlinksldjump"/>
            <a:extLst>
              <a:ext uri="{FF2B5EF4-FFF2-40B4-BE49-F238E27FC236}">
                <a16:creationId xmlns:a16="http://schemas.microsoft.com/office/drawing/2014/main" id="{B2A287B2-3461-42F2-11C5-F7B4F799565D}"/>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8" action="ppaction://hlinksldjump"/>
            <a:extLst>
              <a:ext uri="{FF2B5EF4-FFF2-40B4-BE49-F238E27FC236}">
                <a16:creationId xmlns:a16="http://schemas.microsoft.com/office/drawing/2014/main" id="{CFE6EB14-6D7A-8260-C20A-5230E5DA5A7B}"/>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9" action="ppaction://hlinksldjump"/>
            <a:extLst>
              <a:ext uri="{FF2B5EF4-FFF2-40B4-BE49-F238E27FC236}">
                <a16:creationId xmlns:a16="http://schemas.microsoft.com/office/drawing/2014/main" id="{F0852428-DB94-A297-640D-A15703B7FF6D}"/>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6" name="Trapezoid 5">
            <a:hlinkClick r:id="rId10" action="ppaction://hlinksldjump"/>
            <a:extLst>
              <a:ext uri="{FF2B5EF4-FFF2-40B4-BE49-F238E27FC236}">
                <a16:creationId xmlns:a16="http://schemas.microsoft.com/office/drawing/2014/main" id="{323918A0-8FD9-BA92-4108-9AA7EE4ABE9C}"/>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5" name="Trapezoid 4">
            <a:hlinkClick r:id="rId11" action="ppaction://hlinksldjump"/>
            <a:extLst>
              <a:ext uri="{FF2B5EF4-FFF2-40B4-BE49-F238E27FC236}">
                <a16:creationId xmlns:a16="http://schemas.microsoft.com/office/drawing/2014/main" id="{0204DBED-DBB2-E51C-7CD7-2F5DD4FCB6CC}"/>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Business Model</a:t>
            </a:r>
          </a:p>
        </p:txBody>
      </p:sp>
      <p:sp>
        <p:nvSpPr>
          <p:cNvPr id="13" name="Rechteck 5">
            <a:extLst>
              <a:ext uri="{FF2B5EF4-FFF2-40B4-BE49-F238E27FC236}">
                <a16:creationId xmlns:a16="http://schemas.microsoft.com/office/drawing/2014/main" id="{6F550D10-A2C6-D940-D548-60C99E2A2DAF}"/>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9476520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4B97E-7ED5-6C3E-9F2A-206095DC7717}"/>
              </a:ext>
            </a:extLst>
          </p:cNvPr>
          <p:cNvSpPr>
            <a:spLocks noGrp="1"/>
          </p:cNvSpPr>
          <p:nvPr>
            <p:ph type="title"/>
          </p:nvPr>
        </p:nvSpPr>
        <p:spPr/>
        <p:txBody>
          <a:bodyPr/>
          <a:lstStyle/>
          <a:p>
            <a:r>
              <a:rPr lang="en-US" dirty="0"/>
              <a:t>Production &amp; Operation Twins Roadmap</a:t>
            </a:r>
          </a:p>
        </p:txBody>
      </p:sp>
      <p:sp>
        <p:nvSpPr>
          <p:cNvPr id="3" name="Trapezoid 2">
            <a:hlinkClick r:id="rId2" action="ppaction://hlinksldjump"/>
            <a:extLst>
              <a:ext uri="{FF2B5EF4-FFF2-40B4-BE49-F238E27FC236}">
                <a16:creationId xmlns:a16="http://schemas.microsoft.com/office/drawing/2014/main" id="{692C7595-FE7B-6089-525B-06C1DB18FE21}"/>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2" name="Trapezoid 11">
            <a:hlinkClick r:id="rId3" action="ppaction://hlinksldjump"/>
            <a:extLst>
              <a:ext uri="{FF2B5EF4-FFF2-40B4-BE49-F238E27FC236}">
                <a16:creationId xmlns:a16="http://schemas.microsoft.com/office/drawing/2014/main" id="{B66439BD-A783-9BC7-99EF-5913B8F32790}"/>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4" action="ppaction://hlinksldjump"/>
            <a:extLst>
              <a:ext uri="{FF2B5EF4-FFF2-40B4-BE49-F238E27FC236}">
                <a16:creationId xmlns:a16="http://schemas.microsoft.com/office/drawing/2014/main" id="{479E1090-9AEF-0DD3-A3CA-72C88167F450}"/>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5" action="ppaction://hlinksldjump"/>
            <a:extLst>
              <a:ext uri="{FF2B5EF4-FFF2-40B4-BE49-F238E27FC236}">
                <a16:creationId xmlns:a16="http://schemas.microsoft.com/office/drawing/2014/main" id="{EE71638D-70AB-1491-9AE3-11C129EEFDEF}"/>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6" action="ppaction://hlinksldjump"/>
            <a:extLst>
              <a:ext uri="{FF2B5EF4-FFF2-40B4-BE49-F238E27FC236}">
                <a16:creationId xmlns:a16="http://schemas.microsoft.com/office/drawing/2014/main" id="{186573F9-8D20-84B1-2114-A3C69D1BF0FB}"/>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7" action="ppaction://hlinksldjump"/>
            <a:extLst>
              <a:ext uri="{FF2B5EF4-FFF2-40B4-BE49-F238E27FC236}">
                <a16:creationId xmlns:a16="http://schemas.microsoft.com/office/drawing/2014/main" id="{8E2AEEB9-5DBF-29B9-281C-D553EC346A83}"/>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8" action="ppaction://hlinksldjump"/>
            <a:extLst>
              <a:ext uri="{FF2B5EF4-FFF2-40B4-BE49-F238E27FC236}">
                <a16:creationId xmlns:a16="http://schemas.microsoft.com/office/drawing/2014/main" id="{91E486BB-9276-4665-AA82-19205FC4DA68}"/>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6" name="Trapezoid 5">
            <a:hlinkClick r:id="rId9" action="ppaction://hlinksldjump"/>
            <a:extLst>
              <a:ext uri="{FF2B5EF4-FFF2-40B4-BE49-F238E27FC236}">
                <a16:creationId xmlns:a16="http://schemas.microsoft.com/office/drawing/2014/main" id="{5C38BB9E-2935-2E4F-03E0-F33744DB1B02}"/>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5" name="Trapezoid 4">
            <a:hlinkClick r:id="rId10" action="ppaction://hlinksldjump"/>
            <a:extLst>
              <a:ext uri="{FF2B5EF4-FFF2-40B4-BE49-F238E27FC236}">
                <a16:creationId xmlns:a16="http://schemas.microsoft.com/office/drawing/2014/main" id="{F0B2E3F2-9383-E8CA-7EAD-0A80573EFA7C}"/>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4" name="Trapezoid 3">
            <a:hlinkClick r:id="rId11" action="ppaction://hlinksldjump"/>
            <a:extLst>
              <a:ext uri="{FF2B5EF4-FFF2-40B4-BE49-F238E27FC236}">
                <a16:creationId xmlns:a16="http://schemas.microsoft.com/office/drawing/2014/main" id="{9C138168-D7DC-61B8-4A89-FD43D62DE21B}"/>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Road-map</a:t>
            </a:r>
          </a:p>
        </p:txBody>
      </p:sp>
      <p:sp>
        <p:nvSpPr>
          <p:cNvPr id="13" name="Rechteck 5">
            <a:extLst>
              <a:ext uri="{FF2B5EF4-FFF2-40B4-BE49-F238E27FC236}">
                <a16:creationId xmlns:a16="http://schemas.microsoft.com/office/drawing/2014/main" id="{21119C48-F2A2-26C0-791A-5CBE3AE57267}"/>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graphicFrame>
        <p:nvGraphicFramePr>
          <p:cNvPr id="252" name="Chart 251">
            <a:extLst>
              <a:ext uri="{FF2B5EF4-FFF2-40B4-BE49-F238E27FC236}">
                <a16:creationId xmlns:a16="http://schemas.microsoft.com/office/drawing/2014/main" id="{A7B6A3D1-B30B-5D79-30F1-5DCDC18D30AD}"/>
              </a:ext>
            </a:extLst>
          </p:cNvPr>
          <p:cNvGraphicFramePr/>
          <p:nvPr>
            <p:extLst>
              <p:ext uri="{D42A27DB-BD31-4B8C-83A1-F6EECF244321}">
                <p14:modId xmlns:p14="http://schemas.microsoft.com/office/powerpoint/2010/main" val="715169942"/>
              </p:ext>
            </p:extLst>
          </p:nvPr>
        </p:nvGraphicFramePr>
        <p:xfrm>
          <a:off x="1" y="385404"/>
          <a:ext cx="9144000" cy="448498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742937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FFF29-2EC1-A924-D18E-4BC4F418EB98}"/>
              </a:ext>
            </a:extLst>
          </p:cNvPr>
          <p:cNvSpPr>
            <a:spLocks noGrp="1"/>
          </p:cNvSpPr>
          <p:nvPr>
            <p:ph type="title"/>
          </p:nvPr>
        </p:nvSpPr>
        <p:spPr/>
        <p:txBody>
          <a:bodyPr/>
          <a:lstStyle/>
          <a:p>
            <a:r>
              <a:rPr lang="en-US" dirty="0"/>
              <a:t>Production &amp; Operation Twins Additional Information</a:t>
            </a:r>
          </a:p>
        </p:txBody>
      </p:sp>
      <p:sp>
        <p:nvSpPr>
          <p:cNvPr id="12" name="Trapezoid 11">
            <a:hlinkClick r:id="rId2" action="ppaction://hlinksldjump"/>
            <a:extLst>
              <a:ext uri="{FF2B5EF4-FFF2-40B4-BE49-F238E27FC236}">
                <a16:creationId xmlns:a16="http://schemas.microsoft.com/office/drawing/2014/main" id="{94EFF0C3-03A9-3FB6-8E11-BE3556C6818A}"/>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3" action="ppaction://hlinksldjump"/>
            <a:extLst>
              <a:ext uri="{FF2B5EF4-FFF2-40B4-BE49-F238E27FC236}">
                <a16:creationId xmlns:a16="http://schemas.microsoft.com/office/drawing/2014/main" id="{47C8CB61-C3AB-419C-2326-97376CC52F12}"/>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4" action="ppaction://hlinksldjump"/>
            <a:extLst>
              <a:ext uri="{FF2B5EF4-FFF2-40B4-BE49-F238E27FC236}">
                <a16:creationId xmlns:a16="http://schemas.microsoft.com/office/drawing/2014/main" id="{FCBD4EAB-24E6-65C8-D15D-F52641F6BC0E}"/>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5" action="ppaction://hlinksldjump"/>
            <a:extLst>
              <a:ext uri="{FF2B5EF4-FFF2-40B4-BE49-F238E27FC236}">
                <a16:creationId xmlns:a16="http://schemas.microsoft.com/office/drawing/2014/main" id="{A9675876-F60C-9A9B-B445-D73E32C7E24C}"/>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6" action="ppaction://hlinksldjump"/>
            <a:extLst>
              <a:ext uri="{FF2B5EF4-FFF2-40B4-BE49-F238E27FC236}">
                <a16:creationId xmlns:a16="http://schemas.microsoft.com/office/drawing/2014/main" id="{56723638-1234-CA0C-6AB5-474671C44C06}"/>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7" action="ppaction://hlinksldjump"/>
            <a:extLst>
              <a:ext uri="{FF2B5EF4-FFF2-40B4-BE49-F238E27FC236}">
                <a16:creationId xmlns:a16="http://schemas.microsoft.com/office/drawing/2014/main" id="{4F38AB9F-9D81-9B1D-57EB-D7A7640599D2}"/>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6" name="Trapezoid 5">
            <a:hlinkClick r:id="rId8" action="ppaction://hlinksldjump"/>
            <a:extLst>
              <a:ext uri="{FF2B5EF4-FFF2-40B4-BE49-F238E27FC236}">
                <a16:creationId xmlns:a16="http://schemas.microsoft.com/office/drawing/2014/main" id="{3E955864-B6C2-6786-EFCB-3BEBCF931EEF}"/>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5" name="Trapezoid 4">
            <a:hlinkClick r:id="rId9" action="ppaction://hlinksldjump"/>
            <a:extLst>
              <a:ext uri="{FF2B5EF4-FFF2-40B4-BE49-F238E27FC236}">
                <a16:creationId xmlns:a16="http://schemas.microsoft.com/office/drawing/2014/main" id="{F20ED930-7A0E-CCA7-150E-2AAC142A28BA}"/>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4" name="Trapezoid 3">
            <a:hlinkClick r:id="rId10" action="ppaction://hlinksldjump"/>
            <a:extLst>
              <a:ext uri="{FF2B5EF4-FFF2-40B4-BE49-F238E27FC236}">
                <a16:creationId xmlns:a16="http://schemas.microsoft.com/office/drawing/2014/main" id="{D75A1469-0F03-2B4E-90D2-7FF7771AA97F}"/>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3" name="Trapezoid 2">
            <a:hlinkClick r:id="rId11" action="ppaction://hlinksldjump"/>
            <a:extLst>
              <a:ext uri="{FF2B5EF4-FFF2-40B4-BE49-F238E27FC236}">
                <a16:creationId xmlns:a16="http://schemas.microsoft.com/office/drawing/2014/main" id="{80E8DE93-5159-5025-F96C-419F93638985}"/>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Further Info</a:t>
            </a:r>
          </a:p>
        </p:txBody>
      </p:sp>
      <p:sp>
        <p:nvSpPr>
          <p:cNvPr id="13" name="Rechteck 5">
            <a:extLst>
              <a:ext uri="{FF2B5EF4-FFF2-40B4-BE49-F238E27FC236}">
                <a16:creationId xmlns:a16="http://schemas.microsoft.com/office/drawing/2014/main" id="{CE4E5F75-C96B-B4B6-D756-6E9EC39E1D72}"/>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
        <p:nvSpPr>
          <p:cNvPr id="14" name="Rechteck: abgerundete Ecken 18">
            <a:extLst>
              <a:ext uri="{FF2B5EF4-FFF2-40B4-BE49-F238E27FC236}">
                <a16:creationId xmlns:a16="http://schemas.microsoft.com/office/drawing/2014/main" id="{2E49F470-F1F8-609A-D8EA-F5C9E54F57F7}"/>
              </a:ext>
            </a:extLst>
          </p:cNvPr>
          <p:cNvSpPr/>
          <p:nvPr/>
        </p:nvSpPr>
        <p:spPr>
          <a:xfrm>
            <a:off x="21475" y="429483"/>
            <a:ext cx="5313924" cy="269261"/>
          </a:xfrm>
          <a:prstGeom prst="roundRect">
            <a:avLst>
              <a:gd name="adj" fmla="val 1470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Product</a:t>
            </a:r>
            <a:r>
              <a:rPr lang="de-DE" sz="1000" b="1" dirty="0">
                <a:solidFill>
                  <a:schemeClr val="tx1"/>
                </a:solidFill>
              </a:rPr>
              <a:t>: </a:t>
            </a:r>
            <a:r>
              <a:rPr lang="de-DE" sz="800" dirty="0">
                <a:solidFill>
                  <a:schemeClr val="tx1"/>
                </a:solidFill>
              </a:rPr>
              <a:t>&lt;</a:t>
            </a:r>
            <a:r>
              <a:rPr lang="de-DE" sz="800" dirty="0" err="1">
                <a:solidFill>
                  <a:schemeClr val="tx1"/>
                </a:solidFill>
              </a:rPr>
              <a:t>Product</a:t>
            </a:r>
            <a:r>
              <a:rPr lang="de-DE" sz="800" dirty="0">
                <a:solidFill>
                  <a:schemeClr val="tx1"/>
                </a:solidFill>
              </a:rPr>
              <a:t>/</a:t>
            </a:r>
            <a:r>
              <a:rPr lang="de-DE" sz="800" dirty="0" err="1">
                <a:solidFill>
                  <a:schemeClr val="tx1"/>
                </a:solidFill>
              </a:rPr>
              <a:t>Component</a:t>
            </a:r>
            <a:r>
              <a:rPr lang="de-DE" sz="800" dirty="0">
                <a:solidFill>
                  <a:schemeClr val="tx1"/>
                </a:solidFill>
              </a:rPr>
              <a:t> </a:t>
            </a:r>
            <a:r>
              <a:rPr lang="de-DE" sz="800" dirty="0" err="1">
                <a:solidFill>
                  <a:schemeClr val="tx1"/>
                </a:solidFill>
              </a:rPr>
              <a:t>to</a:t>
            </a:r>
            <a:r>
              <a:rPr lang="de-DE" sz="800" dirty="0">
                <a:solidFill>
                  <a:schemeClr val="tx1"/>
                </a:solidFill>
              </a:rPr>
              <a:t> </a:t>
            </a:r>
            <a:r>
              <a:rPr lang="de-DE" sz="800" dirty="0" err="1">
                <a:solidFill>
                  <a:schemeClr val="tx1"/>
                </a:solidFill>
              </a:rPr>
              <a:t>be</a:t>
            </a:r>
            <a:r>
              <a:rPr lang="de-DE" sz="800" dirty="0">
                <a:solidFill>
                  <a:schemeClr val="tx1"/>
                </a:solidFill>
              </a:rPr>
              <a:t> </a:t>
            </a:r>
            <a:r>
              <a:rPr lang="de-DE" sz="800" dirty="0" err="1">
                <a:solidFill>
                  <a:schemeClr val="tx1"/>
                </a:solidFill>
              </a:rPr>
              <a:t>twinned</a:t>
            </a:r>
            <a:r>
              <a:rPr lang="de-DE" sz="800" dirty="0">
                <a:solidFill>
                  <a:schemeClr val="tx1"/>
                </a:solidFill>
              </a:rPr>
              <a:t>&gt;</a:t>
            </a:r>
          </a:p>
        </p:txBody>
      </p:sp>
      <p:sp>
        <p:nvSpPr>
          <p:cNvPr id="15" name="Rechteck: abgerundete Ecken 19">
            <a:extLst>
              <a:ext uri="{FF2B5EF4-FFF2-40B4-BE49-F238E27FC236}">
                <a16:creationId xmlns:a16="http://schemas.microsoft.com/office/drawing/2014/main" id="{2F24004B-336B-D911-AF96-6BAEDE2E0BDB}"/>
              </a:ext>
            </a:extLst>
          </p:cNvPr>
          <p:cNvSpPr/>
          <p:nvPr/>
        </p:nvSpPr>
        <p:spPr>
          <a:xfrm>
            <a:off x="21475" y="719440"/>
            <a:ext cx="5313924" cy="453035"/>
          </a:xfrm>
          <a:prstGeom prst="roundRect">
            <a:avLst>
              <a:gd name="adj" fmla="val 874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Process</a:t>
            </a:r>
            <a:r>
              <a:rPr lang="de-DE" sz="1000" b="1" dirty="0">
                <a:solidFill>
                  <a:schemeClr val="tx1"/>
                </a:solidFill>
              </a:rPr>
              <a:t>: </a:t>
            </a:r>
            <a:r>
              <a:rPr lang="de-DE" sz="800" dirty="0">
                <a:solidFill>
                  <a:schemeClr val="tx1"/>
                </a:solidFill>
              </a:rPr>
              <a:t>&lt;Underlying </a:t>
            </a:r>
            <a:r>
              <a:rPr lang="de-DE" sz="800" dirty="0" err="1">
                <a:solidFill>
                  <a:schemeClr val="tx1"/>
                </a:solidFill>
              </a:rPr>
              <a:t>process</a:t>
            </a:r>
            <a:r>
              <a:rPr lang="de-DE" sz="800" dirty="0">
                <a:solidFill>
                  <a:schemeClr val="tx1"/>
                </a:solidFill>
              </a:rPr>
              <a:t>/</a:t>
            </a:r>
            <a:r>
              <a:rPr lang="de-DE" sz="800" dirty="0" err="1">
                <a:solidFill>
                  <a:schemeClr val="tx1"/>
                </a:solidFill>
              </a:rPr>
              <a:t>function</a:t>
            </a:r>
            <a:r>
              <a:rPr lang="de-DE" sz="800" dirty="0">
                <a:solidFill>
                  <a:schemeClr val="tx1"/>
                </a:solidFill>
              </a:rPr>
              <a:t> </a:t>
            </a:r>
            <a:r>
              <a:rPr lang="de-DE" sz="800" dirty="0" err="1">
                <a:solidFill>
                  <a:schemeClr val="tx1"/>
                </a:solidFill>
              </a:rPr>
              <a:t>of</a:t>
            </a:r>
            <a:r>
              <a:rPr lang="de-DE" sz="800" dirty="0">
                <a:solidFill>
                  <a:schemeClr val="tx1"/>
                </a:solidFill>
              </a:rPr>
              <a:t> </a:t>
            </a:r>
            <a:r>
              <a:rPr lang="de-DE" sz="800" dirty="0" err="1">
                <a:solidFill>
                  <a:schemeClr val="tx1"/>
                </a:solidFill>
              </a:rPr>
              <a:t>the</a:t>
            </a:r>
            <a:r>
              <a:rPr lang="de-DE" sz="800" dirty="0">
                <a:solidFill>
                  <a:schemeClr val="tx1"/>
                </a:solidFill>
              </a:rPr>
              <a:t> </a:t>
            </a:r>
            <a:r>
              <a:rPr lang="de-DE" sz="800" dirty="0" err="1">
                <a:solidFill>
                  <a:schemeClr val="tx1"/>
                </a:solidFill>
              </a:rPr>
              <a:t>twinned</a:t>
            </a:r>
            <a:r>
              <a:rPr lang="de-DE" sz="800" dirty="0">
                <a:solidFill>
                  <a:schemeClr val="tx1"/>
                </a:solidFill>
              </a:rPr>
              <a:t> </a:t>
            </a:r>
            <a:r>
              <a:rPr lang="de-DE" sz="800" dirty="0" err="1">
                <a:solidFill>
                  <a:schemeClr val="tx1"/>
                </a:solidFill>
              </a:rPr>
              <a:t>product</a:t>
            </a:r>
            <a:r>
              <a:rPr lang="de-DE" sz="800" dirty="0">
                <a:solidFill>
                  <a:schemeClr val="tx1"/>
                </a:solidFill>
              </a:rPr>
              <a:t>&gt;</a:t>
            </a:r>
          </a:p>
        </p:txBody>
      </p:sp>
      <p:graphicFrame>
        <p:nvGraphicFramePr>
          <p:cNvPr id="16" name="Tabelle 15">
            <a:extLst>
              <a:ext uri="{FF2B5EF4-FFF2-40B4-BE49-F238E27FC236}">
                <a16:creationId xmlns:a16="http://schemas.microsoft.com/office/drawing/2014/main" id="{2870CDE5-B198-0E7E-AD2A-F705E90E5F67}"/>
              </a:ext>
            </a:extLst>
          </p:cNvPr>
          <p:cNvGraphicFramePr>
            <a:graphicFrameLocks noGrp="1"/>
          </p:cNvGraphicFramePr>
          <p:nvPr>
            <p:extLst>
              <p:ext uri="{D42A27DB-BD31-4B8C-83A1-F6EECF244321}">
                <p14:modId xmlns:p14="http://schemas.microsoft.com/office/powerpoint/2010/main" val="2041406842"/>
              </p:ext>
            </p:extLst>
          </p:nvPr>
        </p:nvGraphicFramePr>
        <p:xfrm>
          <a:off x="28672" y="1193171"/>
          <a:ext cx="5311219" cy="1005840"/>
        </p:xfrm>
        <a:graphic>
          <a:graphicData uri="http://schemas.openxmlformats.org/drawingml/2006/table">
            <a:tbl>
              <a:tblPr firstRow="1" bandRow="1">
                <a:tableStyleId>{2D5ABB26-0587-4C30-8999-92F81FD0307C}</a:tableStyleId>
              </a:tblPr>
              <a:tblGrid>
                <a:gridCol w="1363489">
                  <a:extLst>
                    <a:ext uri="{9D8B030D-6E8A-4147-A177-3AD203B41FA5}">
                      <a16:colId xmlns:a16="http://schemas.microsoft.com/office/drawing/2014/main" val="4270361833"/>
                    </a:ext>
                  </a:extLst>
                </a:gridCol>
                <a:gridCol w="3947730">
                  <a:extLst>
                    <a:ext uri="{9D8B030D-6E8A-4147-A177-3AD203B41FA5}">
                      <a16:colId xmlns:a16="http://schemas.microsoft.com/office/drawing/2014/main" val="2870146279"/>
                    </a:ext>
                  </a:extLst>
                </a:gridCol>
              </a:tblGrid>
              <a:tr h="205673">
                <a:tc gridSpan="2">
                  <a:txBody>
                    <a:bodyPr/>
                    <a:lstStyle/>
                    <a:p>
                      <a:pPr algn="ctr"/>
                      <a:r>
                        <a:rPr lang="de-DE" sz="800" b="1" dirty="0"/>
                        <a:t>Model </a:t>
                      </a:r>
                      <a:r>
                        <a:rPr lang="de-DE" sz="800" b="1" dirty="0" err="1"/>
                        <a:t>Existence</a:t>
                      </a:r>
                      <a:endParaRPr lang="de-DE"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191582">
                <a:tc>
                  <a:txBody>
                    <a:bodyPr/>
                    <a:lstStyle/>
                    <a:p>
                      <a:endParaRPr lang="de-DE" sz="700" dirty="0"/>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Comments</a:t>
                      </a:r>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191582">
                <a:tc>
                  <a:txBody>
                    <a:bodyPr/>
                    <a:lstStyle/>
                    <a:p>
                      <a:r>
                        <a:rPr lang="de-DE" sz="700" dirty="0"/>
                        <a:t>      Yes</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r>
                        <a:rPr lang="de-DE" sz="700" dirty="0"/>
                        <a:t>&lt;Insert </a:t>
                      </a:r>
                      <a:r>
                        <a:rPr lang="de-DE" sz="700" dirty="0" err="1"/>
                        <a:t>here</a:t>
                      </a:r>
                      <a:r>
                        <a:rPr lang="de-DE" sz="700" dirty="0"/>
                        <a:t> </a:t>
                      </a:r>
                      <a:r>
                        <a:rPr lang="de-DE" sz="700" dirty="0" err="1"/>
                        <a:t>important</a:t>
                      </a:r>
                      <a:r>
                        <a:rPr lang="de-DE" sz="700" dirty="0"/>
                        <a:t> </a:t>
                      </a:r>
                      <a:r>
                        <a:rPr lang="de-DE" sz="700" dirty="0" err="1"/>
                        <a:t>information</a:t>
                      </a:r>
                      <a:r>
                        <a:rPr lang="de-DE" sz="700" dirty="0"/>
                        <a:t> </a:t>
                      </a:r>
                      <a:r>
                        <a:rPr lang="de-DE" sz="700" dirty="0" err="1"/>
                        <a:t>depending</a:t>
                      </a:r>
                      <a:r>
                        <a:rPr lang="de-DE" sz="700" dirty="0"/>
                        <a:t> on </a:t>
                      </a:r>
                      <a:r>
                        <a:rPr lang="de-DE" sz="700" dirty="0" err="1"/>
                        <a:t>the</a:t>
                      </a:r>
                      <a:r>
                        <a:rPr lang="de-DE" sz="700" dirty="0"/>
                        <a:t> </a:t>
                      </a:r>
                      <a:r>
                        <a:rPr lang="de-DE" sz="700" dirty="0" err="1"/>
                        <a:t>ticked</a:t>
                      </a:r>
                      <a:r>
                        <a:rPr lang="de-DE" sz="700" dirty="0"/>
                        <a:t> </a:t>
                      </a:r>
                      <a:r>
                        <a:rPr lang="de-DE" sz="700" dirty="0" err="1"/>
                        <a:t>answer</a:t>
                      </a:r>
                      <a:r>
                        <a:rPr lang="de-DE" sz="700" dirty="0"/>
                        <a:t> on </a:t>
                      </a:r>
                      <a:r>
                        <a:rPr lang="de-DE" sz="700" dirty="0" err="1"/>
                        <a:t>the</a:t>
                      </a:r>
                      <a:r>
                        <a:rPr lang="de-DE" sz="700" dirty="0"/>
                        <a:t> </a:t>
                      </a:r>
                      <a:r>
                        <a:rPr lang="de-DE" sz="700" dirty="0" err="1"/>
                        <a:t>left</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r h="191582">
                <a:tc>
                  <a:txBody>
                    <a:bodyPr/>
                    <a:lstStyle/>
                    <a:p>
                      <a:r>
                        <a:rPr lang="de-DE" sz="700" dirty="0"/>
                        <a:t>      </a:t>
                      </a:r>
                      <a:r>
                        <a:rPr lang="de-DE" sz="700" dirty="0" err="1"/>
                        <a:t>No</a:t>
                      </a:r>
                      <a:r>
                        <a:rPr lang="de-DE" sz="700" dirty="0"/>
                        <a:t>, but </a:t>
                      </a:r>
                      <a:r>
                        <a:rPr lang="de-DE" sz="700" dirty="0" err="1"/>
                        <a:t>feasible</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de-DE" sz="8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70938148"/>
                  </a:ext>
                </a:extLst>
              </a:tr>
              <a:tr h="191582">
                <a:tc>
                  <a:txBody>
                    <a:bodyPr/>
                    <a:lstStyle/>
                    <a:p>
                      <a:r>
                        <a:rPr lang="de-DE" sz="700" dirty="0"/>
                        <a:t>      </a:t>
                      </a:r>
                      <a:r>
                        <a:rPr lang="de-DE" sz="700" dirty="0" err="1"/>
                        <a:t>No</a:t>
                      </a:r>
                      <a:r>
                        <a:rPr lang="de-DE" sz="700" dirty="0"/>
                        <a:t>, not </a:t>
                      </a:r>
                      <a:r>
                        <a:rPr lang="de-DE" sz="700" dirty="0" err="1"/>
                        <a:t>feasible</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de-DE" sz="8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1004332"/>
                  </a:ext>
                </a:extLst>
              </a:tr>
            </a:tbl>
          </a:graphicData>
        </a:graphic>
      </p:graphicFrame>
      <p:sp>
        <p:nvSpPr>
          <p:cNvPr id="17" name="Rechteck 15">
            <a:extLst>
              <a:ext uri="{FF2B5EF4-FFF2-40B4-BE49-F238E27FC236}">
                <a16:creationId xmlns:a16="http://schemas.microsoft.com/office/drawing/2014/main" id="{6AE48874-0FD2-A594-8CC1-BF44ADFF3BFD}"/>
              </a:ext>
            </a:extLst>
          </p:cNvPr>
          <p:cNvSpPr/>
          <p:nvPr/>
        </p:nvSpPr>
        <p:spPr>
          <a:xfrm>
            <a:off x="52978" y="163631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18" name="Rechteck 22">
            <a:extLst>
              <a:ext uri="{FF2B5EF4-FFF2-40B4-BE49-F238E27FC236}">
                <a16:creationId xmlns:a16="http://schemas.microsoft.com/office/drawing/2014/main" id="{C58F6A93-F1FB-5A73-C09D-00C4B50C9F49}"/>
              </a:ext>
            </a:extLst>
          </p:cNvPr>
          <p:cNvSpPr/>
          <p:nvPr/>
        </p:nvSpPr>
        <p:spPr>
          <a:xfrm>
            <a:off x="52978" y="184322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19" name="Rechteck 23">
            <a:extLst>
              <a:ext uri="{FF2B5EF4-FFF2-40B4-BE49-F238E27FC236}">
                <a16:creationId xmlns:a16="http://schemas.microsoft.com/office/drawing/2014/main" id="{451D63EB-2A0D-327A-EDFD-8590AA4DE490}"/>
              </a:ext>
            </a:extLst>
          </p:cNvPr>
          <p:cNvSpPr/>
          <p:nvPr/>
        </p:nvSpPr>
        <p:spPr>
          <a:xfrm>
            <a:off x="52978" y="203981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graphicFrame>
        <p:nvGraphicFramePr>
          <p:cNvPr id="20" name="Tabelle 15">
            <a:extLst>
              <a:ext uri="{FF2B5EF4-FFF2-40B4-BE49-F238E27FC236}">
                <a16:creationId xmlns:a16="http://schemas.microsoft.com/office/drawing/2014/main" id="{EACECE58-0DCB-D26D-98BD-AF11575D3090}"/>
              </a:ext>
            </a:extLst>
          </p:cNvPr>
          <p:cNvGraphicFramePr>
            <a:graphicFrameLocks noGrp="1"/>
          </p:cNvGraphicFramePr>
          <p:nvPr>
            <p:extLst>
              <p:ext uri="{D42A27DB-BD31-4B8C-83A1-F6EECF244321}">
                <p14:modId xmlns:p14="http://schemas.microsoft.com/office/powerpoint/2010/main" val="1967455862"/>
              </p:ext>
            </p:extLst>
          </p:nvPr>
        </p:nvGraphicFramePr>
        <p:xfrm>
          <a:off x="28672" y="2219707"/>
          <a:ext cx="5309517" cy="1407070"/>
        </p:xfrm>
        <a:graphic>
          <a:graphicData uri="http://schemas.openxmlformats.org/drawingml/2006/table">
            <a:tbl>
              <a:tblPr firstRow="1" bandRow="1">
                <a:tableStyleId>{2D5ABB26-0587-4C30-8999-92F81FD0307C}</a:tableStyleId>
              </a:tblPr>
              <a:tblGrid>
                <a:gridCol w="1363052">
                  <a:extLst>
                    <a:ext uri="{9D8B030D-6E8A-4147-A177-3AD203B41FA5}">
                      <a16:colId xmlns:a16="http://schemas.microsoft.com/office/drawing/2014/main" val="4270361833"/>
                    </a:ext>
                  </a:extLst>
                </a:gridCol>
                <a:gridCol w="3946465">
                  <a:extLst>
                    <a:ext uri="{9D8B030D-6E8A-4147-A177-3AD203B41FA5}">
                      <a16:colId xmlns:a16="http://schemas.microsoft.com/office/drawing/2014/main" val="2870146279"/>
                    </a:ext>
                  </a:extLst>
                </a:gridCol>
              </a:tblGrid>
              <a:tr h="208174">
                <a:tc gridSpan="2">
                  <a:txBody>
                    <a:bodyPr/>
                    <a:lstStyle/>
                    <a:p>
                      <a:pPr algn="ctr"/>
                      <a:r>
                        <a:rPr lang="de-DE" sz="800" b="1" dirty="0"/>
                        <a:t>Tool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193304">
                <a:tc>
                  <a:txBody>
                    <a:bodyPr/>
                    <a:lstStyle/>
                    <a:p>
                      <a:r>
                        <a:rPr lang="de-DE" sz="700" b="1" dirty="0" err="1"/>
                        <a:t>Toolname</a:t>
                      </a:r>
                      <a:endParaRPr lang="de-DE" sz="700" b="1" dirty="0"/>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Tool </a:t>
                      </a:r>
                      <a:r>
                        <a:rPr lang="de-DE" sz="700" b="1" dirty="0" err="1"/>
                        <a:t>Usage</a:t>
                      </a:r>
                      <a:endParaRPr lang="de-DE" sz="700" b="1" dirty="0"/>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203110">
                <a:tc>
                  <a:txBody>
                    <a:bodyPr/>
                    <a:lstStyle/>
                    <a:p>
                      <a:r>
                        <a:rPr lang="de-DE" sz="700" dirty="0"/>
                        <a:t>&lt;Tool X&gt;</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dirty="0"/>
                        <a:t>&lt;</a:t>
                      </a:r>
                      <a:r>
                        <a:rPr lang="de-DE" sz="700" dirty="0" err="1"/>
                        <a:t>For</a:t>
                      </a:r>
                      <a:r>
                        <a:rPr lang="de-DE" sz="700" dirty="0"/>
                        <a:t> </a:t>
                      </a:r>
                      <a:r>
                        <a:rPr lang="de-DE" sz="700" dirty="0" err="1"/>
                        <a:t>which</a:t>
                      </a:r>
                      <a:r>
                        <a:rPr lang="de-DE" sz="700" dirty="0"/>
                        <a:t> </a:t>
                      </a:r>
                      <a:r>
                        <a:rPr lang="de-DE" sz="700" dirty="0" err="1"/>
                        <a:t>activity</a:t>
                      </a:r>
                      <a:r>
                        <a:rPr lang="de-DE" sz="700" dirty="0"/>
                        <a:t> </a:t>
                      </a:r>
                      <a:r>
                        <a:rPr lang="de-DE" sz="700" dirty="0" err="1"/>
                        <a:t>is</a:t>
                      </a:r>
                      <a:r>
                        <a:rPr lang="de-DE" sz="700" dirty="0"/>
                        <a:t> </a:t>
                      </a:r>
                      <a:r>
                        <a:rPr lang="de-DE" sz="700" dirty="0" err="1"/>
                        <a:t>the</a:t>
                      </a:r>
                      <a:r>
                        <a:rPr lang="de-DE" sz="700" dirty="0"/>
                        <a:t> </a:t>
                      </a:r>
                      <a:r>
                        <a:rPr lang="de-DE" sz="700" dirty="0" err="1"/>
                        <a:t>tool</a:t>
                      </a:r>
                      <a:r>
                        <a:rPr lang="de-DE" sz="700" dirty="0"/>
                        <a:t> </a:t>
                      </a:r>
                      <a:r>
                        <a:rPr lang="de-DE" sz="700" dirty="0" err="1"/>
                        <a:t>used</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r h="193304">
                <a:tc>
                  <a:txBody>
                    <a:bodyPr/>
                    <a:lstStyle/>
                    <a:p>
                      <a:r>
                        <a:rPr lang="de-DE" sz="700" dirty="0"/>
                        <a:t>&lt;Tool Y&gt;</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700" dirty="0"/>
                        <a:t>&lt;</a:t>
                      </a:r>
                      <a:r>
                        <a:rPr lang="de-DE" sz="700" dirty="0" err="1"/>
                        <a:t>For</a:t>
                      </a:r>
                      <a:r>
                        <a:rPr lang="de-DE" sz="700" dirty="0"/>
                        <a:t> </a:t>
                      </a:r>
                      <a:r>
                        <a:rPr lang="de-DE" sz="700" dirty="0" err="1"/>
                        <a:t>which</a:t>
                      </a:r>
                      <a:r>
                        <a:rPr lang="de-DE" sz="700" dirty="0"/>
                        <a:t> </a:t>
                      </a:r>
                      <a:r>
                        <a:rPr lang="de-DE" sz="700" dirty="0" err="1"/>
                        <a:t>activity</a:t>
                      </a:r>
                      <a:r>
                        <a:rPr lang="de-DE" sz="700" dirty="0"/>
                        <a:t> </a:t>
                      </a:r>
                      <a:r>
                        <a:rPr lang="de-DE" sz="700" dirty="0" err="1"/>
                        <a:t>is</a:t>
                      </a:r>
                      <a:r>
                        <a:rPr lang="de-DE" sz="700" dirty="0"/>
                        <a:t> </a:t>
                      </a:r>
                      <a:r>
                        <a:rPr lang="de-DE" sz="700" dirty="0" err="1"/>
                        <a:t>the</a:t>
                      </a:r>
                      <a:r>
                        <a:rPr lang="de-DE" sz="700" dirty="0"/>
                        <a:t> </a:t>
                      </a:r>
                      <a:r>
                        <a:rPr lang="de-DE" sz="700" dirty="0" err="1"/>
                        <a:t>tool</a:t>
                      </a:r>
                      <a:r>
                        <a:rPr lang="de-DE" sz="700" dirty="0"/>
                        <a:t> </a:t>
                      </a:r>
                      <a:r>
                        <a:rPr lang="de-DE" sz="700" dirty="0" err="1"/>
                        <a:t>used</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0938148"/>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1004332"/>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844404"/>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89128928"/>
                  </a:ext>
                </a:extLst>
              </a:tr>
            </a:tbl>
          </a:graphicData>
        </a:graphic>
      </p:graphicFrame>
      <p:graphicFrame>
        <p:nvGraphicFramePr>
          <p:cNvPr id="21" name="Tabelle 15">
            <a:extLst>
              <a:ext uri="{FF2B5EF4-FFF2-40B4-BE49-F238E27FC236}">
                <a16:creationId xmlns:a16="http://schemas.microsoft.com/office/drawing/2014/main" id="{EAB0112E-BCCC-B4F0-2F1E-A4D7FA96FD36}"/>
              </a:ext>
            </a:extLst>
          </p:cNvPr>
          <p:cNvGraphicFramePr>
            <a:graphicFrameLocks noGrp="1"/>
          </p:cNvGraphicFramePr>
          <p:nvPr>
            <p:extLst>
              <p:ext uri="{D42A27DB-BD31-4B8C-83A1-F6EECF244321}">
                <p14:modId xmlns:p14="http://schemas.microsoft.com/office/powerpoint/2010/main" val="2744460023"/>
              </p:ext>
            </p:extLst>
          </p:nvPr>
        </p:nvGraphicFramePr>
        <p:xfrm>
          <a:off x="28672" y="3647471"/>
          <a:ext cx="5309527" cy="1214435"/>
        </p:xfrm>
        <a:graphic>
          <a:graphicData uri="http://schemas.openxmlformats.org/drawingml/2006/table">
            <a:tbl>
              <a:tblPr firstRow="1" bandRow="1">
                <a:tableStyleId>{2D5ABB26-0587-4C30-8999-92F81FD0307C}</a:tableStyleId>
              </a:tblPr>
              <a:tblGrid>
                <a:gridCol w="1896880">
                  <a:extLst>
                    <a:ext uri="{9D8B030D-6E8A-4147-A177-3AD203B41FA5}">
                      <a16:colId xmlns:a16="http://schemas.microsoft.com/office/drawing/2014/main" val="4270361833"/>
                    </a:ext>
                  </a:extLst>
                </a:gridCol>
                <a:gridCol w="3412647">
                  <a:extLst>
                    <a:ext uri="{9D8B030D-6E8A-4147-A177-3AD203B41FA5}">
                      <a16:colId xmlns:a16="http://schemas.microsoft.com/office/drawing/2014/main" val="2870146279"/>
                    </a:ext>
                  </a:extLst>
                </a:gridCol>
              </a:tblGrid>
              <a:tr h="219632">
                <a:tc gridSpan="2">
                  <a:txBody>
                    <a:bodyPr/>
                    <a:lstStyle/>
                    <a:p>
                      <a:pPr algn="ctr"/>
                      <a:r>
                        <a:rPr lang="de-DE" sz="800" b="1" dirty="0"/>
                        <a:t>Virtual Model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202406">
                <a:tc>
                  <a:txBody>
                    <a:bodyPr/>
                    <a:lstStyle/>
                    <a:p>
                      <a:r>
                        <a:rPr lang="de-DE" sz="700" b="1" dirty="0" err="1"/>
                        <a:t>Needed</a:t>
                      </a:r>
                      <a:r>
                        <a:rPr lang="de-DE" sz="700" b="1" dirty="0"/>
                        <a:t> Parameters</a:t>
                      </a:r>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Virtual Model Properties</a:t>
                      </a:r>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792397">
                <a:tc>
                  <a:txBody>
                    <a:bodyPr/>
                    <a:lstStyle/>
                    <a:p>
                      <a:r>
                        <a:rPr lang="de-DE" sz="700" dirty="0"/>
                        <a:t>&lt;Note all Input </a:t>
                      </a:r>
                      <a:r>
                        <a:rPr lang="de-DE" sz="700" dirty="0" err="1"/>
                        <a:t>parameters</a:t>
                      </a:r>
                      <a:r>
                        <a:rPr lang="de-DE" sz="700" dirty="0"/>
                        <a:t> </a:t>
                      </a:r>
                      <a:r>
                        <a:rPr lang="de-DE" sz="700" dirty="0" err="1"/>
                        <a:t>for</a:t>
                      </a:r>
                      <a:r>
                        <a:rPr lang="de-DE" sz="700" dirty="0"/>
                        <a:t> </a:t>
                      </a:r>
                      <a:r>
                        <a:rPr lang="de-DE" sz="700" dirty="0" err="1"/>
                        <a:t>the</a:t>
                      </a:r>
                      <a:r>
                        <a:rPr lang="de-DE" sz="700" dirty="0"/>
                        <a:t> </a:t>
                      </a:r>
                      <a:r>
                        <a:rPr lang="de-DE" sz="700" dirty="0" err="1"/>
                        <a:t>model</a:t>
                      </a:r>
                      <a:r>
                        <a:rPr lang="de-DE" sz="700" dirty="0"/>
                        <a:t> </a:t>
                      </a:r>
                      <a:r>
                        <a:rPr lang="de-DE" sz="700" dirty="0" err="1"/>
                        <a:t>as</a:t>
                      </a:r>
                      <a:r>
                        <a:rPr lang="de-DE" sz="700" dirty="0"/>
                        <a:t> </a:t>
                      </a:r>
                      <a:r>
                        <a:rPr lang="de-DE" sz="700" dirty="0" err="1"/>
                        <a:t>detailed</a:t>
                      </a:r>
                      <a:r>
                        <a:rPr lang="de-DE" sz="700" dirty="0"/>
                        <a:t> </a:t>
                      </a:r>
                      <a:r>
                        <a:rPr lang="de-DE" sz="700" dirty="0" err="1"/>
                        <a:t>as</a:t>
                      </a:r>
                      <a:r>
                        <a:rPr lang="de-DE" sz="700" dirty="0"/>
                        <a:t> possible&gt;</a:t>
                      </a:r>
                    </a:p>
                  </a:txBody>
                  <a:tcP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dirty="0"/>
                        <a:t>&lt;</a:t>
                      </a:r>
                      <a:r>
                        <a:rPr lang="de-DE" sz="700" dirty="0" err="1"/>
                        <a:t>Which</a:t>
                      </a:r>
                      <a:r>
                        <a:rPr lang="de-DE" sz="700" dirty="0"/>
                        <a:t> </a:t>
                      </a:r>
                      <a:r>
                        <a:rPr lang="de-DE" sz="700" dirty="0" err="1"/>
                        <a:t>properties</a:t>
                      </a:r>
                      <a:r>
                        <a:rPr lang="de-DE" sz="700" dirty="0"/>
                        <a:t> </a:t>
                      </a:r>
                      <a:r>
                        <a:rPr lang="de-DE" sz="700" dirty="0" err="1"/>
                        <a:t>does</a:t>
                      </a:r>
                      <a:r>
                        <a:rPr lang="de-DE" sz="700" dirty="0"/>
                        <a:t>/</a:t>
                      </a:r>
                      <a:r>
                        <a:rPr lang="de-DE" sz="700" dirty="0" err="1"/>
                        <a:t>should</a:t>
                      </a:r>
                      <a:r>
                        <a:rPr lang="de-DE" sz="700" dirty="0"/>
                        <a:t> </a:t>
                      </a:r>
                      <a:r>
                        <a:rPr lang="de-DE" sz="700" dirty="0" err="1"/>
                        <a:t>the</a:t>
                      </a:r>
                      <a:r>
                        <a:rPr lang="de-DE" sz="700" dirty="0"/>
                        <a:t> virtual </a:t>
                      </a:r>
                      <a:r>
                        <a:rPr lang="de-DE" sz="700" dirty="0" err="1"/>
                        <a:t>model</a:t>
                      </a:r>
                      <a:r>
                        <a:rPr lang="de-DE" sz="700" dirty="0"/>
                        <a:t> </a:t>
                      </a:r>
                      <a:r>
                        <a:rPr lang="de-DE" sz="700" dirty="0" err="1"/>
                        <a:t>have</a:t>
                      </a:r>
                      <a:r>
                        <a:rPr lang="de-DE" sz="700" dirty="0"/>
                        <a:t>? </a:t>
                      </a:r>
                      <a:r>
                        <a:rPr lang="de-DE" sz="700" dirty="0" err="1"/>
                        <a:t>What</a:t>
                      </a:r>
                      <a:r>
                        <a:rPr lang="de-DE" sz="700" dirty="0"/>
                        <a:t> </a:t>
                      </a:r>
                      <a:r>
                        <a:rPr lang="de-DE" sz="700" dirty="0" err="1"/>
                        <a:t>does</a:t>
                      </a:r>
                      <a:r>
                        <a:rPr lang="de-DE" sz="700" dirty="0"/>
                        <a:t>/</a:t>
                      </a:r>
                      <a:r>
                        <a:rPr lang="de-DE" sz="700" dirty="0" err="1"/>
                        <a:t>should</a:t>
                      </a:r>
                      <a:r>
                        <a:rPr lang="de-DE" sz="700" dirty="0"/>
                        <a:t> </a:t>
                      </a:r>
                      <a:r>
                        <a:rPr lang="de-DE" sz="700" dirty="0" err="1"/>
                        <a:t>the</a:t>
                      </a:r>
                      <a:r>
                        <a:rPr lang="de-DE" sz="700" dirty="0"/>
                        <a:t> virtual </a:t>
                      </a:r>
                      <a:r>
                        <a:rPr lang="de-DE" sz="700" dirty="0" err="1"/>
                        <a:t>model</a:t>
                      </a:r>
                      <a:r>
                        <a:rPr lang="de-DE" sz="700" dirty="0"/>
                        <a:t> </a:t>
                      </a:r>
                      <a:r>
                        <a:rPr lang="de-DE" sz="700" dirty="0" err="1"/>
                        <a:t>achieve</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bl>
          </a:graphicData>
        </a:graphic>
      </p:graphicFrame>
      <p:sp>
        <p:nvSpPr>
          <p:cNvPr id="22" name="Rechteck: abgerundete Ecken 28">
            <a:extLst>
              <a:ext uri="{FF2B5EF4-FFF2-40B4-BE49-F238E27FC236}">
                <a16:creationId xmlns:a16="http://schemas.microsoft.com/office/drawing/2014/main" id="{7D993561-B547-F629-A611-173FE6A85072}"/>
              </a:ext>
            </a:extLst>
          </p:cNvPr>
          <p:cNvSpPr/>
          <p:nvPr/>
        </p:nvSpPr>
        <p:spPr>
          <a:xfrm>
            <a:off x="5357903" y="429483"/>
            <a:ext cx="3754732" cy="3190880"/>
          </a:xfrm>
          <a:prstGeom prst="roundRect">
            <a:avLst>
              <a:gd name="adj" fmla="val 124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a:solidFill>
                  <a:schemeClr val="tx1"/>
                </a:solidFill>
              </a:rPr>
              <a:t>Picture</a:t>
            </a:r>
            <a:endParaRPr lang="de-DE" sz="800" dirty="0">
              <a:solidFill>
                <a:schemeClr val="tx1"/>
              </a:solidFill>
            </a:endParaRPr>
          </a:p>
        </p:txBody>
      </p:sp>
      <p:sp>
        <p:nvSpPr>
          <p:cNvPr id="23" name="Rechteck: abgerundete Ecken 30">
            <a:extLst>
              <a:ext uri="{FF2B5EF4-FFF2-40B4-BE49-F238E27FC236}">
                <a16:creationId xmlns:a16="http://schemas.microsoft.com/office/drawing/2014/main" id="{B7BCE198-EDE6-5DF1-01AB-93C1C3BAD828}"/>
              </a:ext>
            </a:extLst>
          </p:cNvPr>
          <p:cNvSpPr/>
          <p:nvPr/>
        </p:nvSpPr>
        <p:spPr>
          <a:xfrm>
            <a:off x="5358101" y="3636299"/>
            <a:ext cx="3754732" cy="1223220"/>
          </a:xfrm>
          <a:prstGeom prst="roundRect">
            <a:avLst>
              <a:gd name="adj" fmla="val 323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Effort</a:t>
            </a:r>
            <a:r>
              <a:rPr lang="de-DE" sz="1000" b="1" dirty="0">
                <a:solidFill>
                  <a:schemeClr val="tx1"/>
                </a:solidFill>
              </a:rPr>
              <a:t> </a:t>
            </a:r>
            <a:r>
              <a:rPr lang="de-DE" sz="1000" b="1" dirty="0" err="1">
                <a:solidFill>
                  <a:schemeClr val="tx1"/>
                </a:solidFill>
              </a:rPr>
              <a:t>of</a:t>
            </a:r>
            <a:r>
              <a:rPr lang="de-DE" sz="1000" b="1" dirty="0">
                <a:solidFill>
                  <a:schemeClr val="tx1"/>
                </a:solidFill>
              </a:rPr>
              <a:t> </a:t>
            </a:r>
            <a:r>
              <a:rPr lang="de-DE" sz="1000" b="1" dirty="0" err="1">
                <a:solidFill>
                  <a:schemeClr val="tx1"/>
                </a:solidFill>
              </a:rPr>
              <a:t>the</a:t>
            </a:r>
            <a:r>
              <a:rPr lang="de-DE" sz="1000" b="1" dirty="0">
                <a:solidFill>
                  <a:schemeClr val="tx1"/>
                </a:solidFill>
              </a:rPr>
              <a:t> Simulation </a:t>
            </a:r>
            <a:r>
              <a:rPr lang="de-DE" sz="1000" dirty="0">
                <a:solidFill>
                  <a:schemeClr val="tx1"/>
                </a:solidFill>
              </a:rPr>
              <a:t>(</a:t>
            </a:r>
            <a:r>
              <a:rPr lang="de-DE" sz="1000" dirty="0" err="1">
                <a:solidFill>
                  <a:schemeClr val="tx1"/>
                </a:solidFill>
              </a:rPr>
              <a:t>Complexity</a:t>
            </a:r>
            <a:r>
              <a:rPr lang="de-DE" sz="1000" dirty="0">
                <a:solidFill>
                  <a:schemeClr val="tx1"/>
                </a:solidFill>
              </a:rPr>
              <a:t> </a:t>
            </a:r>
            <a:r>
              <a:rPr lang="de-DE" sz="1000" dirty="0" err="1">
                <a:solidFill>
                  <a:schemeClr val="tx1"/>
                </a:solidFill>
              </a:rPr>
              <a:t>of</a:t>
            </a:r>
            <a:r>
              <a:rPr lang="de-DE" sz="1000" dirty="0">
                <a:solidFill>
                  <a:schemeClr val="tx1"/>
                </a:solidFill>
              </a:rPr>
              <a:t> </a:t>
            </a:r>
            <a:r>
              <a:rPr lang="de-DE" sz="1000" dirty="0" err="1">
                <a:solidFill>
                  <a:schemeClr val="tx1"/>
                </a:solidFill>
              </a:rPr>
              <a:t>the</a:t>
            </a:r>
            <a:r>
              <a:rPr lang="de-DE" sz="1000" dirty="0">
                <a:solidFill>
                  <a:schemeClr val="tx1"/>
                </a:solidFill>
              </a:rPr>
              <a:t> virtual </a:t>
            </a:r>
            <a:r>
              <a:rPr lang="de-DE" sz="1000" dirty="0" err="1">
                <a:solidFill>
                  <a:schemeClr val="tx1"/>
                </a:solidFill>
              </a:rPr>
              <a:t>modelling</a:t>
            </a:r>
            <a:r>
              <a:rPr lang="de-DE" sz="1000" dirty="0">
                <a:solidFill>
                  <a:schemeClr val="tx1"/>
                </a:solidFill>
              </a:rPr>
              <a:t>)</a:t>
            </a:r>
            <a:endParaRPr lang="de-DE" sz="800" dirty="0">
              <a:solidFill>
                <a:schemeClr val="tx1"/>
              </a:solidFill>
            </a:endParaRPr>
          </a:p>
        </p:txBody>
      </p:sp>
      <p:grpSp>
        <p:nvGrpSpPr>
          <p:cNvPr id="24" name="Gruppieren 31">
            <a:extLst>
              <a:ext uri="{FF2B5EF4-FFF2-40B4-BE49-F238E27FC236}">
                <a16:creationId xmlns:a16="http://schemas.microsoft.com/office/drawing/2014/main" id="{7F82300D-35EA-56AB-421E-9B501446CB8B}"/>
              </a:ext>
            </a:extLst>
          </p:cNvPr>
          <p:cNvGrpSpPr/>
          <p:nvPr/>
        </p:nvGrpSpPr>
        <p:grpSpPr>
          <a:xfrm>
            <a:off x="5961203" y="4160578"/>
            <a:ext cx="2548132" cy="396279"/>
            <a:chOff x="6484574" y="4292597"/>
            <a:chExt cx="861041" cy="108002"/>
          </a:xfrm>
        </p:grpSpPr>
        <p:sp>
          <p:nvSpPr>
            <p:cNvPr id="25" name="Rechteck 32">
              <a:extLst>
                <a:ext uri="{FF2B5EF4-FFF2-40B4-BE49-F238E27FC236}">
                  <a16:creationId xmlns:a16="http://schemas.microsoft.com/office/drawing/2014/main" id="{220B297C-24B4-3271-5A42-7F386477C2A0}"/>
                </a:ext>
              </a:extLst>
            </p:cNvPr>
            <p:cNvSpPr/>
            <p:nvPr/>
          </p:nvSpPr>
          <p:spPr>
            <a:xfrm>
              <a:off x="6484574" y="4292597"/>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1</a:t>
              </a:r>
            </a:p>
          </p:txBody>
        </p:sp>
        <p:sp>
          <p:nvSpPr>
            <p:cNvPr id="26" name="Rechteck 33">
              <a:extLst>
                <a:ext uri="{FF2B5EF4-FFF2-40B4-BE49-F238E27FC236}">
                  <a16:creationId xmlns:a16="http://schemas.microsoft.com/office/drawing/2014/main" id="{3E18F4D8-04A0-AC16-2ECB-DE50BFACA91C}"/>
                </a:ext>
              </a:extLst>
            </p:cNvPr>
            <p:cNvSpPr/>
            <p:nvPr/>
          </p:nvSpPr>
          <p:spPr>
            <a:xfrm>
              <a:off x="666383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2</a:t>
              </a:r>
            </a:p>
          </p:txBody>
        </p:sp>
        <p:sp>
          <p:nvSpPr>
            <p:cNvPr id="27" name="Rechteck 34">
              <a:extLst>
                <a:ext uri="{FF2B5EF4-FFF2-40B4-BE49-F238E27FC236}">
                  <a16:creationId xmlns:a16="http://schemas.microsoft.com/office/drawing/2014/main" id="{42F32DEE-224C-C6FE-F32D-EE2879EC162D}"/>
                </a:ext>
              </a:extLst>
            </p:cNvPr>
            <p:cNvSpPr/>
            <p:nvPr/>
          </p:nvSpPr>
          <p:spPr>
            <a:xfrm>
              <a:off x="684309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3</a:t>
              </a:r>
            </a:p>
          </p:txBody>
        </p:sp>
        <p:sp>
          <p:nvSpPr>
            <p:cNvPr id="28" name="Rechteck 35">
              <a:extLst>
                <a:ext uri="{FF2B5EF4-FFF2-40B4-BE49-F238E27FC236}">
                  <a16:creationId xmlns:a16="http://schemas.microsoft.com/office/drawing/2014/main" id="{6EF2A65C-9FD1-0652-398A-3CD170CBC645}"/>
                </a:ext>
              </a:extLst>
            </p:cNvPr>
            <p:cNvSpPr/>
            <p:nvPr/>
          </p:nvSpPr>
          <p:spPr>
            <a:xfrm>
              <a:off x="702235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4</a:t>
              </a:r>
            </a:p>
          </p:txBody>
        </p:sp>
        <p:sp>
          <p:nvSpPr>
            <p:cNvPr id="29" name="Rechteck 36">
              <a:extLst>
                <a:ext uri="{FF2B5EF4-FFF2-40B4-BE49-F238E27FC236}">
                  <a16:creationId xmlns:a16="http://schemas.microsoft.com/office/drawing/2014/main" id="{BED10C85-30A2-3A2E-638A-BBB9640409AC}"/>
                </a:ext>
              </a:extLst>
            </p:cNvPr>
            <p:cNvSpPr/>
            <p:nvPr/>
          </p:nvSpPr>
          <p:spPr>
            <a:xfrm>
              <a:off x="7201615" y="4292597"/>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5</a:t>
              </a:r>
            </a:p>
          </p:txBody>
        </p:sp>
      </p:grpSp>
      <p:sp>
        <p:nvSpPr>
          <p:cNvPr id="30" name="Rechteck 20">
            <a:extLst>
              <a:ext uri="{FF2B5EF4-FFF2-40B4-BE49-F238E27FC236}">
                <a16:creationId xmlns:a16="http://schemas.microsoft.com/office/drawing/2014/main" id="{4C2331E1-5821-BF22-13D5-1D06401F2445}"/>
              </a:ext>
            </a:extLst>
          </p:cNvPr>
          <p:cNvSpPr/>
          <p:nvPr/>
        </p:nvSpPr>
        <p:spPr>
          <a:xfrm>
            <a:off x="6449183" y="4103641"/>
            <a:ext cx="504000" cy="50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1" name="Textfeld 21">
            <a:extLst>
              <a:ext uri="{FF2B5EF4-FFF2-40B4-BE49-F238E27FC236}">
                <a16:creationId xmlns:a16="http://schemas.microsoft.com/office/drawing/2014/main" id="{8484C1A8-8A0B-BD8F-0D60-9469AD3B4AA8}"/>
              </a:ext>
            </a:extLst>
          </p:cNvPr>
          <p:cNvSpPr txBox="1"/>
          <p:nvPr/>
        </p:nvSpPr>
        <p:spPr>
          <a:xfrm>
            <a:off x="5477126" y="4283313"/>
            <a:ext cx="442429" cy="144655"/>
          </a:xfrm>
          <a:prstGeom prst="rect">
            <a:avLst/>
          </a:prstGeom>
          <a:solidFill>
            <a:schemeClr val="bg1">
              <a:lumMod val="85000"/>
            </a:schemeClr>
          </a:solidFill>
        </p:spPr>
        <p:txBody>
          <a:bodyPr wrap="none" lIns="0" tIns="0" rIns="0" bIns="0" rtlCol="0">
            <a:spAutoFit/>
          </a:bodyPr>
          <a:lstStyle/>
          <a:p>
            <a:pPr>
              <a:lnSpc>
                <a:spcPct val="114000"/>
              </a:lnSpc>
            </a:pPr>
            <a:r>
              <a:rPr lang="de-DE" sz="900" dirty="0">
                <a:latin typeface="+mn-lt"/>
              </a:rPr>
              <a:t>Very </a:t>
            </a:r>
            <a:r>
              <a:rPr lang="de-DE" sz="900" dirty="0" err="1">
                <a:latin typeface="+mn-lt"/>
              </a:rPr>
              <a:t>low</a:t>
            </a:r>
            <a:endParaRPr lang="de-DE" sz="900" dirty="0">
              <a:latin typeface="+mn-lt"/>
            </a:endParaRPr>
          </a:p>
        </p:txBody>
      </p:sp>
      <p:sp>
        <p:nvSpPr>
          <p:cNvPr id="32" name="Textfeld 40">
            <a:extLst>
              <a:ext uri="{FF2B5EF4-FFF2-40B4-BE49-F238E27FC236}">
                <a16:creationId xmlns:a16="http://schemas.microsoft.com/office/drawing/2014/main" id="{EB0E9EAC-2CD5-7672-4842-584B940FBF1F}"/>
              </a:ext>
            </a:extLst>
          </p:cNvPr>
          <p:cNvSpPr txBox="1"/>
          <p:nvPr/>
        </p:nvSpPr>
        <p:spPr>
          <a:xfrm>
            <a:off x="8540441" y="4284422"/>
            <a:ext cx="487313" cy="144655"/>
          </a:xfrm>
          <a:prstGeom prst="rect">
            <a:avLst/>
          </a:prstGeom>
          <a:solidFill>
            <a:schemeClr val="bg1">
              <a:lumMod val="85000"/>
            </a:schemeClr>
          </a:solidFill>
        </p:spPr>
        <p:txBody>
          <a:bodyPr wrap="none" lIns="0" tIns="0" rIns="0" bIns="0" rtlCol="0">
            <a:spAutoFit/>
          </a:bodyPr>
          <a:lstStyle/>
          <a:p>
            <a:pPr>
              <a:lnSpc>
                <a:spcPct val="114000"/>
              </a:lnSpc>
            </a:pPr>
            <a:r>
              <a:rPr lang="de-DE" sz="900" dirty="0">
                <a:latin typeface="+mn-lt"/>
              </a:rPr>
              <a:t>Very high</a:t>
            </a:r>
          </a:p>
        </p:txBody>
      </p:sp>
    </p:spTree>
    <p:extLst>
      <p:ext uri="{BB962C8B-B14F-4D97-AF65-F5344CB8AC3E}">
        <p14:creationId xmlns:p14="http://schemas.microsoft.com/office/powerpoint/2010/main" val="3255581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F56682-23C4-8FD0-D2D1-86E7AD133AA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7AB4FD25-0F53-9614-12AC-514DC124A3A7}"/>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EAE88868-73FC-7B8C-C107-65F74DBFDD51}"/>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94AA5471-4CE3-D1C3-29FF-AE63D4258B15}"/>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1F879764-749C-BE49-0F28-616ED5135895}"/>
              </a:ext>
            </a:extLst>
          </p:cNvPr>
          <p:cNvSpPr>
            <a:spLocks noGrp="1"/>
          </p:cNvSpPr>
          <p:nvPr>
            <p:ph type="body" sz="quarter" idx="14"/>
          </p:nvPr>
        </p:nvSpPr>
        <p:spPr/>
        <p:txBody>
          <a:bodyPr/>
          <a:lstStyle/>
          <a:p>
            <a:endParaRPr lang="en-US"/>
          </a:p>
        </p:txBody>
      </p:sp>
      <p:sp>
        <p:nvSpPr>
          <p:cNvPr id="7" name="Content Placeholder 6">
            <a:extLst>
              <a:ext uri="{FF2B5EF4-FFF2-40B4-BE49-F238E27FC236}">
                <a16:creationId xmlns:a16="http://schemas.microsoft.com/office/drawing/2014/main" id="{2FCC40FE-0A08-81C4-0A22-D2A4C4FF4D76}"/>
              </a:ext>
            </a:extLst>
          </p:cNvPr>
          <p:cNvSpPr>
            <a:spLocks noGrp="1"/>
          </p:cNvSpPr>
          <p:nvPr>
            <p:ph sz="quarter" idx="15"/>
          </p:nvPr>
        </p:nvSpPr>
        <p:spPr/>
        <p:txBody>
          <a:bodyPr/>
          <a:lstStyle/>
          <a:p>
            <a:endParaRPr lang="en-US"/>
          </a:p>
        </p:txBody>
      </p:sp>
      <p:sp>
        <p:nvSpPr>
          <p:cNvPr id="8" name="Content Placeholder 7">
            <a:extLst>
              <a:ext uri="{FF2B5EF4-FFF2-40B4-BE49-F238E27FC236}">
                <a16:creationId xmlns:a16="http://schemas.microsoft.com/office/drawing/2014/main" id="{64487F09-824B-8A8F-9061-ADAE29B06C75}"/>
              </a:ext>
            </a:extLst>
          </p:cNvPr>
          <p:cNvSpPr>
            <a:spLocks noGrp="1"/>
          </p:cNvSpPr>
          <p:nvPr>
            <p:ph sz="quarter" idx="16"/>
          </p:nvPr>
        </p:nvSpPr>
        <p:spPr/>
        <p:txBody>
          <a:bodyPr/>
          <a:lstStyle/>
          <a:p>
            <a:endParaRPr lang="en-US"/>
          </a:p>
        </p:txBody>
      </p:sp>
      <p:sp>
        <p:nvSpPr>
          <p:cNvPr id="9" name="Content Placeholder 8">
            <a:extLst>
              <a:ext uri="{FF2B5EF4-FFF2-40B4-BE49-F238E27FC236}">
                <a16:creationId xmlns:a16="http://schemas.microsoft.com/office/drawing/2014/main" id="{FA4AAD35-12D2-341C-C9B9-6BC2806B88E9}"/>
              </a:ext>
            </a:extLst>
          </p:cNvPr>
          <p:cNvSpPr>
            <a:spLocks noGrp="1"/>
          </p:cNvSpPr>
          <p:nvPr>
            <p:ph sz="quarter" idx="17"/>
          </p:nvPr>
        </p:nvSpPr>
        <p:spPr/>
        <p:txBody>
          <a:bodyPr/>
          <a:lstStyle/>
          <a:p>
            <a:endParaRPr lang="en-US"/>
          </a:p>
        </p:txBody>
      </p:sp>
      <p:sp>
        <p:nvSpPr>
          <p:cNvPr id="10" name="Content Placeholder 9">
            <a:extLst>
              <a:ext uri="{FF2B5EF4-FFF2-40B4-BE49-F238E27FC236}">
                <a16:creationId xmlns:a16="http://schemas.microsoft.com/office/drawing/2014/main" id="{5FE3D30A-59FA-D34D-FEE2-2935E1D18A71}"/>
              </a:ext>
            </a:extLst>
          </p:cNvPr>
          <p:cNvSpPr>
            <a:spLocks noGrp="1"/>
          </p:cNvSpPr>
          <p:nvPr>
            <p:ph sz="quarter" idx="18"/>
          </p:nvPr>
        </p:nvSpPr>
        <p:spPr/>
        <p:txBody>
          <a:bodyPr/>
          <a:lstStyle/>
          <a:p>
            <a:endParaRPr lang="en-US"/>
          </a:p>
        </p:txBody>
      </p:sp>
      <p:sp>
        <p:nvSpPr>
          <p:cNvPr id="11" name="Content Placeholder 10">
            <a:extLst>
              <a:ext uri="{FF2B5EF4-FFF2-40B4-BE49-F238E27FC236}">
                <a16:creationId xmlns:a16="http://schemas.microsoft.com/office/drawing/2014/main" id="{41C86F18-49B4-0065-8707-686E38B57A7C}"/>
              </a:ext>
            </a:extLst>
          </p:cNvPr>
          <p:cNvSpPr>
            <a:spLocks noGrp="1"/>
          </p:cNvSpPr>
          <p:nvPr>
            <p:ph sz="quarter" idx="19"/>
          </p:nvPr>
        </p:nvSpPr>
        <p:spPr/>
        <p:txBody>
          <a:bodyPr/>
          <a:lstStyle/>
          <a:p>
            <a:endParaRPr lang="en-US"/>
          </a:p>
        </p:txBody>
      </p:sp>
      <p:sp>
        <p:nvSpPr>
          <p:cNvPr id="12" name="Title 11">
            <a:extLst>
              <a:ext uri="{FF2B5EF4-FFF2-40B4-BE49-F238E27FC236}">
                <a16:creationId xmlns:a16="http://schemas.microsoft.com/office/drawing/2014/main" id="{F6D49398-3B33-FC44-984A-844EBB7D375F}"/>
              </a:ext>
            </a:extLst>
          </p:cNvPr>
          <p:cNvSpPr>
            <a:spLocks noGrp="1"/>
          </p:cNvSpPr>
          <p:nvPr>
            <p:ph type="title"/>
          </p:nvPr>
        </p:nvSpPr>
        <p:spPr/>
        <p:txBody>
          <a:bodyPr/>
          <a:lstStyle/>
          <a:p>
            <a:r>
              <a:rPr lang="en-US" dirty="0"/>
              <a:t>Engineering Twins Overview</a:t>
            </a:r>
          </a:p>
        </p:txBody>
      </p:sp>
      <p:sp>
        <p:nvSpPr>
          <p:cNvPr id="13" name="Rechteck 5">
            <a:extLst>
              <a:ext uri="{FF2B5EF4-FFF2-40B4-BE49-F238E27FC236}">
                <a16:creationId xmlns:a16="http://schemas.microsoft.com/office/drawing/2014/main" id="{5FE22132-FE04-CE6F-3C2D-73C81BB28205}"/>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
        <p:nvSpPr>
          <p:cNvPr id="14" name="Trapezoid 13">
            <a:hlinkClick r:id="rId8" action="ppaction://hlinksldjump"/>
            <a:extLst>
              <a:ext uri="{FF2B5EF4-FFF2-40B4-BE49-F238E27FC236}">
                <a16:creationId xmlns:a16="http://schemas.microsoft.com/office/drawing/2014/main" id="{AF9C8AFD-060C-59AF-97F3-7B78DC22AE90}"/>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5" name="Trapezoid 14">
            <a:hlinkClick r:id="rId9" action="ppaction://hlinksldjump"/>
            <a:extLst>
              <a:ext uri="{FF2B5EF4-FFF2-40B4-BE49-F238E27FC236}">
                <a16:creationId xmlns:a16="http://schemas.microsoft.com/office/drawing/2014/main" id="{0C3F9FBF-D775-1A00-053F-E513E3C55AB6}"/>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6" name="Trapezoid 15">
            <a:hlinkClick r:id="rId10" action="ppaction://hlinksldjump"/>
            <a:extLst>
              <a:ext uri="{FF2B5EF4-FFF2-40B4-BE49-F238E27FC236}">
                <a16:creationId xmlns:a16="http://schemas.microsoft.com/office/drawing/2014/main" id="{8040CA20-4C3D-BB25-A25E-C611A37FEC0B}"/>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17" name="Trapezoid 16">
            <a:hlinkClick r:id="rId11" action="ppaction://hlinksldjump"/>
            <a:extLst>
              <a:ext uri="{FF2B5EF4-FFF2-40B4-BE49-F238E27FC236}">
                <a16:creationId xmlns:a16="http://schemas.microsoft.com/office/drawing/2014/main" id="{C2EB428C-8398-8304-D3BE-46562585E11D}"/>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18" name="Trapezoid 17">
            <a:hlinkClick r:id="rId12" action="ppaction://hlinksldjump"/>
            <a:extLst>
              <a:ext uri="{FF2B5EF4-FFF2-40B4-BE49-F238E27FC236}">
                <a16:creationId xmlns:a16="http://schemas.microsoft.com/office/drawing/2014/main" id="{E2C2F207-FF5B-43EF-E471-AE95AC7D116E}"/>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9" name="Trapezoid 18">
            <a:hlinkClick r:id="rId13" action="ppaction://hlinksldjump"/>
            <a:extLst>
              <a:ext uri="{FF2B5EF4-FFF2-40B4-BE49-F238E27FC236}">
                <a16:creationId xmlns:a16="http://schemas.microsoft.com/office/drawing/2014/main" id="{BECD6400-6D5E-D9E7-0BEC-8D1F19630915}"/>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20" name="Trapezoid 19">
            <a:hlinkClick r:id="rId14" action="ppaction://hlinksldjump"/>
            <a:extLst>
              <a:ext uri="{FF2B5EF4-FFF2-40B4-BE49-F238E27FC236}">
                <a16:creationId xmlns:a16="http://schemas.microsoft.com/office/drawing/2014/main" id="{B84EF0BA-5396-8EAF-EC77-4C869E386900}"/>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21" name="Trapezoid 20">
            <a:hlinkClick r:id="rId15" action="ppaction://hlinksldjump"/>
            <a:extLst>
              <a:ext uri="{FF2B5EF4-FFF2-40B4-BE49-F238E27FC236}">
                <a16:creationId xmlns:a16="http://schemas.microsoft.com/office/drawing/2014/main" id="{D0F2A0FC-88C7-E3C8-D16C-70B6A79F4995}"/>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Overview</a:t>
            </a:r>
          </a:p>
        </p:txBody>
      </p:sp>
      <p:grpSp>
        <p:nvGrpSpPr>
          <p:cNvPr id="22" name="Group 21">
            <a:extLst>
              <a:ext uri="{FF2B5EF4-FFF2-40B4-BE49-F238E27FC236}">
                <a16:creationId xmlns:a16="http://schemas.microsoft.com/office/drawing/2014/main" id="{9F8C7B19-8E19-481A-9A16-29CEA940B726}"/>
              </a:ext>
            </a:extLst>
          </p:cNvPr>
          <p:cNvGrpSpPr/>
          <p:nvPr>
            <p:custDataLst>
              <p:tags r:id="rId1"/>
            </p:custDataLst>
          </p:nvPr>
        </p:nvGrpSpPr>
        <p:grpSpPr>
          <a:xfrm>
            <a:off x="5672659" y="2514604"/>
            <a:ext cx="1388000" cy="93662"/>
            <a:chOff x="3810000" y="2571750"/>
            <a:chExt cx="1524000" cy="152400"/>
          </a:xfrm>
        </p:grpSpPr>
        <p:sp>
          <p:nvSpPr>
            <p:cNvPr id="23" name="background">
              <a:extLst>
                <a:ext uri="{FF2B5EF4-FFF2-40B4-BE49-F238E27FC236}">
                  <a16:creationId xmlns:a16="http://schemas.microsoft.com/office/drawing/2014/main" id="{A1BEE828-D590-704D-AE65-8DEF47461C52}"/>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24" name="bar">
              <a:extLst>
                <a:ext uri="{FF2B5EF4-FFF2-40B4-BE49-F238E27FC236}">
                  <a16:creationId xmlns:a16="http://schemas.microsoft.com/office/drawing/2014/main" id="{02BDA8FF-8B43-A508-A243-BEA7B95FF2CE}"/>
                </a:ext>
              </a:extLst>
            </p:cNvPr>
            <p:cNvSpPr/>
            <p:nvPr/>
          </p:nvSpPr>
          <p:spPr>
            <a:xfrm>
              <a:off x="3810000" y="2571750"/>
              <a:ext cx="135636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89%</a:t>
              </a:r>
              <a:endParaRPr lang="en-US" sz="553" dirty="0">
                <a:solidFill>
                  <a:srgbClr val="FFFFFF"/>
                </a:solidFill>
              </a:endParaRPr>
            </a:p>
          </p:txBody>
        </p:sp>
        <p:sp>
          <p:nvSpPr>
            <p:cNvPr id="25" name="foreground">
              <a:extLst>
                <a:ext uri="{FF2B5EF4-FFF2-40B4-BE49-F238E27FC236}">
                  <a16:creationId xmlns:a16="http://schemas.microsoft.com/office/drawing/2014/main" id="{52242E66-3547-66E4-C86F-9D0FF4A29AC8}"/>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26" name="Group 25">
            <a:extLst>
              <a:ext uri="{FF2B5EF4-FFF2-40B4-BE49-F238E27FC236}">
                <a16:creationId xmlns:a16="http://schemas.microsoft.com/office/drawing/2014/main" id="{1101E7CA-DB28-16D0-B373-82540FCE739F}"/>
              </a:ext>
            </a:extLst>
          </p:cNvPr>
          <p:cNvGrpSpPr/>
          <p:nvPr>
            <p:custDataLst>
              <p:tags r:id="rId2"/>
            </p:custDataLst>
          </p:nvPr>
        </p:nvGrpSpPr>
        <p:grpSpPr>
          <a:xfrm>
            <a:off x="5672659" y="3102503"/>
            <a:ext cx="1388000" cy="93662"/>
            <a:chOff x="3810000" y="2571750"/>
            <a:chExt cx="1524000" cy="152400"/>
          </a:xfrm>
        </p:grpSpPr>
        <p:sp>
          <p:nvSpPr>
            <p:cNvPr id="27" name="background">
              <a:extLst>
                <a:ext uri="{FF2B5EF4-FFF2-40B4-BE49-F238E27FC236}">
                  <a16:creationId xmlns:a16="http://schemas.microsoft.com/office/drawing/2014/main" id="{CDAE8F3A-3087-1034-C39A-21234AB12988}"/>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28" name="bar">
              <a:extLst>
                <a:ext uri="{FF2B5EF4-FFF2-40B4-BE49-F238E27FC236}">
                  <a16:creationId xmlns:a16="http://schemas.microsoft.com/office/drawing/2014/main" id="{DFF9F921-8E13-3F14-E977-A4D0E6B52226}"/>
                </a:ext>
              </a:extLst>
            </p:cNvPr>
            <p:cNvSpPr/>
            <p:nvPr/>
          </p:nvSpPr>
          <p:spPr>
            <a:xfrm>
              <a:off x="3810000" y="2571750"/>
              <a:ext cx="89916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59%</a:t>
              </a:r>
              <a:endParaRPr lang="en-US" sz="553" dirty="0">
                <a:solidFill>
                  <a:srgbClr val="FFFFFF"/>
                </a:solidFill>
              </a:endParaRPr>
            </a:p>
          </p:txBody>
        </p:sp>
        <p:sp>
          <p:nvSpPr>
            <p:cNvPr id="29" name="foreground">
              <a:extLst>
                <a:ext uri="{FF2B5EF4-FFF2-40B4-BE49-F238E27FC236}">
                  <a16:creationId xmlns:a16="http://schemas.microsoft.com/office/drawing/2014/main" id="{AF244B72-D7DD-C673-D305-74B06B6D239C}"/>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0" name="Group 29">
            <a:extLst>
              <a:ext uri="{FF2B5EF4-FFF2-40B4-BE49-F238E27FC236}">
                <a16:creationId xmlns:a16="http://schemas.microsoft.com/office/drawing/2014/main" id="{2865DC53-E359-AEBA-7EA7-E87F41472E32}"/>
              </a:ext>
            </a:extLst>
          </p:cNvPr>
          <p:cNvGrpSpPr/>
          <p:nvPr>
            <p:custDataLst>
              <p:tags r:id="rId3"/>
            </p:custDataLst>
          </p:nvPr>
        </p:nvGrpSpPr>
        <p:grpSpPr>
          <a:xfrm>
            <a:off x="5672659" y="2808553"/>
            <a:ext cx="1388000" cy="93662"/>
            <a:chOff x="3810000" y="2571750"/>
            <a:chExt cx="1524000" cy="152400"/>
          </a:xfrm>
        </p:grpSpPr>
        <p:sp>
          <p:nvSpPr>
            <p:cNvPr id="31" name="background">
              <a:extLst>
                <a:ext uri="{FF2B5EF4-FFF2-40B4-BE49-F238E27FC236}">
                  <a16:creationId xmlns:a16="http://schemas.microsoft.com/office/drawing/2014/main" id="{A7330BD0-F8D6-58B0-B8FC-4A157E044EDE}"/>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32" name="bar">
              <a:extLst>
                <a:ext uri="{FF2B5EF4-FFF2-40B4-BE49-F238E27FC236}">
                  <a16:creationId xmlns:a16="http://schemas.microsoft.com/office/drawing/2014/main" id="{5DA5EBA3-C546-EA8B-32F4-6054B4342DC3}"/>
                </a:ext>
              </a:extLst>
            </p:cNvPr>
            <p:cNvSpPr/>
            <p:nvPr/>
          </p:nvSpPr>
          <p:spPr>
            <a:xfrm>
              <a:off x="3810000" y="2571750"/>
              <a:ext cx="53340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35%</a:t>
              </a:r>
              <a:endParaRPr lang="en-US" sz="553" dirty="0">
                <a:solidFill>
                  <a:srgbClr val="FFFFFF"/>
                </a:solidFill>
              </a:endParaRPr>
            </a:p>
          </p:txBody>
        </p:sp>
        <p:sp>
          <p:nvSpPr>
            <p:cNvPr id="33" name="foreground">
              <a:extLst>
                <a:ext uri="{FF2B5EF4-FFF2-40B4-BE49-F238E27FC236}">
                  <a16:creationId xmlns:a16="http://schemas.microsoft.com/office/drawing/2014/main" id="{15A15901-AA12-C5E6-7711-1D2E0637CF8F}"/>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4" name="Group 33">
            <a:extLst>
              <a:ext uri="{FF2B5EF4-FFF2-40B4-BE49-F238E27FC236}">
                <a16:creationId xmlns:a16="http://schemas.microsoft.com/office/drawing/2014/main" id="{1F2F9A51-08B1-05F4-362B-04989524C4BD}"/>
              </a:ext>
            </a:extLst>
          </p:cNvPr>
          <p:cNvGrpSpPr/>
          <p:nvPr>
            <p:custDataLst>
              <p:tags r:id="rId4"/>
            </p:custDataLst>
          </p:nvPr>
        </p:nvGrpSpPr>
        <p:grpSpPr>
          <a:xfrm>
            <a:off x="8094133" y="2514604"/>
            <a:ext cx="998540" cy="93662"/>
            <a:chOff x="3810000" y="2571750"/>
            <a:chExt cx="1524000" cy="152400"/>
          </a:xfrm>
        </p:grpSpPr>
        <p:sp>
          <p:nvSpPr>
            <p:cNvPr id="35" name="background">
              <a:extLst>
                <a:ext uri="{FF2B5EF4-FFF2-40B4-BE49-F238E27FC236}">
                  <a16:creationId xmlns:a16="http://schemas.microsoft.com/office/drawing/2014/main" id="{D50DF900-2414-28AB-9A9D-FDDD68001788}"/>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36" name="bar">
              <a:extLst>
                <a:ext uri="{FF2B5EF4-FFF2-40B4-BE49-F238E27FC236}">
                  <a16:creationId xmlns:a16="http://schemas.microsoft.com/office/drawing/2014/main" id="{F7006E7E-9B4F-070F-3220-D64933408BD0}"/>
                </a:ext>
              </a:extLst>
            </p:cNvPr>
            <p:cNvSpPr/>
            <p:nvPr/>
          </p:nvSpPr>
          <p:spPr>
            <a:xfrm>
              <a:off x="3810000" y="2571750"/>
              <a:ext cx="746761"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dirty="0">
                  <a:solidFill>
                    <a:srgbClr val="FFFFFF"/>
                  </a:solidFill>
                </a:rPr>
                <a:t>49%</a:t>
              </a:r>
            </a:p>
          </p:txBody>
        </p:sp>
        <p:sp>
          <p:nvSpPr>
            <p:cNvPr id="37" name="foreground">
              <a:extLst>
                <a:ext uri="{FF2B5EF4-FFF2-40B4-BE49-F238E27FC236}">
                  <a16:creationId xmlns:a16="http://schemas.microsoft.com/office/drawing/2014/main" id="{65C15AEC-783F-CE76-06E8-461415B7E109}"/>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8" name="Group 37">
            <a:extLst>
              <a:ext uri="{FF2B5EF4-FFF2-40B4-BE49-F238E27FC236}">
                <a16:creationId xmlns:a16="http://schemas.microsoft.com/office/drawing/2014/main" id="{7654C52A-9318-BB3E-E439-DFB6AD3DCA36}"/>
              </a:ext>
            </a:extLst>
          </p:cNvPr>
          <p:cNvGrpSpPr/>
          <p:nvPr>
            <p:custDataLst>
              <p:tags r:id="rId5"/>
            </p:custDataLst>
          </p:nvPr>
        </p:nvGrpSpPr>
        <p:grpSpPr>
          <a:xfrm>
            <a:off x="8094133" y="3102503"/>
            <a:ext cx="998540" cy="93662"/>
            <a:chOff x="3810000" y="2571750"/>
            <a:chExt cx="1524000" cy="152400"/>
          </a:xfrm>
        </p:grpSpPr>
        <p:sp>
          <p:nvSpPr>
            <p:cNvPr id="39" name="background">
              <a:extLst>
                <a:ext uri="{FF2B5EF4-FFF2-40B4-BE49-F238E27FC236}">
                  <a16:creationId xmlns:a16="http://schemas.microsoft.com/office/drawing/2014/main" id="{D0F2EFFE-4244-18A4-8C44-38D7F7B35CC0}"/>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40" name="bar">
              <a:extLst>
                <a:ext uri="{FF2B5EF4-FFF2-40B4-BE49-F238E27FC236}">
                  <a16:creationId xmlns:a16="http://schemas.microsoft.com/office/drawing/2014/main" id="{2C57F53E-C876-0C07-9995-27A77D01732E}"/>
                </a:ext>
              </a:extLst>
            </p:cNvPr>
            <p:cNvSpPr/>
            <p:nvPr/>
          </p:nvSpPr>
          <p:spPr>
            <a:xfrm>
              <a:off x="3810000" y="2571750"/>
              <a:ext cx="929639"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61%</a:t>
              </a:r>
              <a:endParaRPr lang="en-US" sz="553" dirty="0">
                <a:solidFill>
                  <a:srgbClr val="FFFFFF"/>
                </a:solidFill>
              </a:endParaRPr>
            </a:p>
          </p:txBody>
        </p:sp>
        <p:sp>
          <p:nvSpPr>
            <p:cNvPr id="41" name="foreground">
              <a:extLst>
                <a:ext uri="{FF2B5EF4-FFF2-40B4-BE49-F238E27FC236}">
                  <a16:creationId xmlns:a16="http://schemas.microsoft.com/office/drawing/2014/main" id="{7807D8D1-32E8-E2AF-FE40-6A7668319731}"/>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42" name="Group 41">
            <a:extLst>
              <a:ext uri="{FF2B5EF4-FFF2-40B4-BE49-F238E27FC236}">
                <a16:creationId xmlns:a16="http://schemas.microsoft.com/office/drawing/2014/main" id="{F78EE3EF-618F-471E-98D0-46F024B4FE12}"/>
              </a:ext>
            </a:extLst>
          </p:cNvPr>
          <p:cNvGrpSpPr/>
          <p:nvPr>
            <p:custDataLst>
              <p:tags r:id="rId6"/>
            </p:custDataLst>
          </p:nvPr>
        </p:nvGrpSpPr>
        <p:grpSpPr>
          <a:xfrm>
            <a:off x="8094133" y="2808553"/>
            <a:ext cx="998540" cy="93662"/>
            <a:chOff x="3810000" y="2571750"/>
            <a:chExt cx="1524000" cy="152400"/>
          </a:xfrm>
        </p:grpSpPr>
        <p:sp>
          <p:nvSpPr>
            <p:cNvPr id="43" name="background">
              <a:extLst>
                <a:ext uri="{FF2B5EF4-FFF2-40B4-BE49-F238E27FC236}">
                  <a16:creationId xmlns:a16="http://schemas.microsoft.com/office/drawing/2014/main" id="{C72E68C2-B243-0463-AE06-B093A9EDE4BB}"/>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44" name="bar">
              <a:extLst>
                <a:ext uri="{FF2B5EF4-FFF2-40B4-BE49-F238E27FC236}">
                  <a16:creationId xmlns:a16="http://schemas.microsoft.com/office/drawing/2014/main" id="{7AAFC80B-9639-CADB-D8DF-4E23D59292C5}"/>
                </a:ext>
              </a:extLst>
            </p:cNvPr>
            <p:cNvSpPr/>
            <p:nvPr/>
          </p:nvSpPr>
          <p:spPr>
            <a:xfrm>
              <a:off x="3810000" y="2571750"/>
              <a:ext cx="140208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dirty="0">
                  <a:solidFill>
                    <a:srgbClr val="FFFFFF"/>
                  </a:solidFill>
                </a:rPr>
                <a:t>92%</a:t>
              </a:r>
            </a:p>
          </p:txBody>
        </p:sp>
        <p:sp>
          <p:nvSpPr>
            <p:cNvPr id="45" name="foreground">
              <a:extLst>
                <a:ext uri="{FF2B5EF4-FFF2-40B4-BE49-F238E27FC236}">
                  <a16:creationId xmlns:a16="http://schemas.microsoft.com/office/drawing/2014/main" id="{440E0CE5-7C95-927D-0343-4A38927941DE}"/>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spTree>
    <p:extLst>
      <p:ext uri="{BB962C8B-B14F-4D97-AF65-F5344CB8AC3E}">
        <p14:creationId xmlns:p14="http://schemas.microsoft.com/office/powerpoint/2010/main" val="24116939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E0F836-5EFB-E6AC-709A-88A9040A53ED}"/>
              </a:ext>
            </a:extLst>
          </p:cNvPr>
          <p:cNvSpPr>
            <a:spLocks noGrp="1"/>
          </p:cNvSpPr>
          <p:nvPr>
            <p:ph sz="quarter" idx="10"/>
          </p:nvPr>
        </p:nvSpPr>
        <p:spPr/>
        <p:txBody>
          <a:bodyPr/>
          <a:lstStyle/>
          <a:p>
            <a:endParaRPr lang="en-US"/>
          </a:p>
        </p:txBody>
      </p:sp>
      <p:sp>
        <p:nvSpPr>
          <p:cNvPr id="3" name="Title 2">
            <a:extLst>
              <a:ext uri="{FF2B5EF4-FFF2-40B4-BE49-F238E27FC236}">
                <a16:creationId xmlns:a16="http://schemas.microsoft.com/office/drawing/2014/main" id="{9B0DB016-71B7-BFF7-35EF-9AC907E63769}"/>
              </a:ext>
            </a:extLst>
          </p:cNvPr>
          <p:cNvSpPr>
            <a:spLocks noGrp="1"/>
          </p:cNvSpPr>
          <p:nvPr>
            <p:ph type="title"/>
          </p:nvPr>
        </p:nvSpPr>
        <p:spPr/>
        <p:txBody>
          <a:bodyPr/>
          <a:lstStyle/>
          <a:p>
            <a:r>
              <a:rPr lang="en-US" dirty="0"/>
              <a:t>Engineering Twins As-Is Process</a:t>
            </a:r>
          </a:p>
        </p:txBody>
      </p:sp>
      <p:sp>
        <p:nvSpPr>
          <p:cNvPr id="14" name="Trapezoid 13">
            <a:hlinkClick r:id="rId2" action="ppaction://hlinksldjump"/>
            <a:extLst>
              <a:ext uri="{FF2B5EF4-FFF2-40B4-BE49-F238E27FC236}">
                <a16:creationId xmlns:a16="http://schemas.microsoft.com/office/drawing/2014/main" id="{25839DDA-FA73-4133-3A91-5B4AF92B8B78}"/>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5" name="Trapezoid 14">
            <a:hlinkClick r:id="rId3" action="ppaction://hlinksldjump"/>
            <a:extLst>
              <a:ext uri="{FF2B5EF4-FFF2-40B4-BE49-F238E27FC236}">
                <a16:creationId xmlns:a16="http://schemas.microsoft.com/office/drawing/2014/main" id="{03D51356-97FC-0472-731C-5B9623F90F97}"/>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6" name="Trapezoid 15">
            <a:hlinkClick r:id="rId4" action="ppaction://hlinksldjump"/>
            <a:extLst>
              <a:ext uri="{FF2B5EF4-FFF2-40B4-BE49-F238E27FC236}">
                <a16:creationId xmlns:a16="http://schemas.microsoft.com/office/drawing/2014/main" id="{C301B23F-5F64-6CE0-E022-E38C077EB090}"/>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17" name="Trapezoid 16">
            <a:hlinkClick r:id="rId5" action="ppaction://hlinksldjump"/>
            <a:extLst>
              <a:ext uri="{FF2B5EF4-FFF2-40B4-BE49-F238E27FC236}">
                <a16:creationId xmlns:a16="http://schemas.microsoft.com/office/drawing/2014/main" id="{BAAAA99F-2F7F-96B4-1A63-4633B8DBDCF5}"/>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18" name="Trapezoid 17">
            <a:hlinkClick r:id="rId6" action="ppaction://hlinksldjump"/>
            <a:extLst>
              <a:ext uri="{FF2B5EF4-FFF2-40B4-BE49-F238E27FC236}">
                <a16:creationId xmlns:a16="http://schemas.microsoft.com/office/drawing/2014/main" id="{6AC668B8-EF09-A57D-6AFC-2F127E4AD91E}"/>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9" name="Trapezoid 18">
            <a:hlinkClick r:id="rId7" action="ppaction://hlinksldjump"/>
            <a:extLst>
              <a:ext uri="{FF2B5EF4-FFF2-40B4-BE49-F238E27FC236}">
                <a16:creationId xmlns:a16="http://schemas.microsoft.com/office/drawing/2014/main" id="{092C184A-B74E-C40E-6E41-71CBF16684EC}"/>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21" name="Trapezoid 20">
            <a:hlinkClick r:id="rId8" action="ppaction://hlinksldjump"/>
            <a:extLst>
              <a:ext uri="{FF2B5EF4-FFF2-40B4-BE49-F238E27FC236}">
                <a16:creationId xmlns:a16="http://schemas.microsoft.com/office/drawing/2014/main" id="{49909B0D-F5F8-A6A6-DA47-B8A5952AF2A9}"/>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20" name="Trapezoid 19">
            <a:hlinkClick r:id="rId9" action="ppaction://hlinksldjump"/>
            <a:extLst>
              <a:ext uri="{FF2B5EF4-FFF2-40B4-BE49-F238E27FC236}">
                <a16:creationId xmlns:a16="http://schemas.microsoft.com/office/drawing/2014/main" id="{9297F153-6143-4B0B-2869-E15DF41C2684}"/>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As-is process</a:t>
            </a:r>
          </a:p>
        </p:txBody>
      </p:sp>
      <p:sp>
        <p:nvSpPr>
          <p:cNvPr id="13" name="Rechteck 5">
            <a:extLst>
              <a:ext uri="{FF2B5EF4-FFF2-40B4-BE49-F238E27FC236}">
                <a16:creationId xmlns:a16="http://schemas.microsoft.com/office/drawing/2014/main" id="{A2C5B0FC-5AF5-E8B8-8987-3505CD44E3A3}"/>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5910858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5BB1-2E30-BC78-2DE8-D2FA9D0B4F2E}"/>
              </a:ext>
            </a:extLst>
          </p:cNvPr>
          <p:cNvSpPr>
            <a:spLocks noGrp="1"/>
          </p:cNvSpPr>
          <p:nvPr>
            <p:ph type="title"/>
          </p:nvPr>
        </p:nvSpPr>
        <p:spPr/>
        <p:txBody>
          <a:bodyPr/>
          <a:lstStyle/>
          <a:p>
            <a:r>
              <a:rPr lang="en-US" dirty="0"/>
              <a:t>Engineering Twins As-Is Data-Structure</a:t>
            </a:r>
          </a:p>
        </p:txBody>
      </p:sp>
      <p:sp>
        <p:nvSpPr>
          <p:cNvPr id="13" name="Trapezoid 12">
            <a:hlinkClick r:id="rId2" action="ppaction://hlinksldjump"/>
            <a:extLst>
              <a:ext uri="{FF2B5EF4-FFF2-40B4-BE49-F238E27FC236}">
                <a16:creationId xmlns:a16="http://schemas.microsoft.com/office/drawing/2014/main" id="{182A55B8-7127-F48E-7440-08901130E07C}"/>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4" name="Trapezoid 13">
            <a:hlinkClick r:id="rId3" action="ppaction://hlinksldjump"/>
            <a:extLst>
              <a:ext uri="{FF2B5EF4-FFF2-40B4-BE49-F238E27FC236}">
                <a16:creationId xmlns:a16="http://schemas.microsoft.com/office/drawing/2014/main" id="{75B61021-E6C4-7C4A-35FB-FFD0DBC16F0B}"/>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5" name="Trapezoid 14">
            <a:hlinkClick r:id="rId4" action="ppaction://hlinksldjump"/>
            <a:extLst>
              <a:ext uri="{FF2B5EF4-FFF2-40B4-BE49-F238E27FC236}">
                <a16:creationId xmlns:a16="http://schemas.microsoft.com/office/drawing/2014/main" id="{15F05C81-CA5F-A2C9-21FB-ED12DB75B529}"/>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16" name="Trapezoid 15">
            <a:hlinkClick r:id="rId5" action="ppaction://hlinksldjump"/>
            <a:extLst>
              <a:ext uri="{FF2B5EF4-FFF2-40B4-BE49-F238E27FC236}">
                <a16:creationId xmlns:a16="http://schemas.microsoft.com/office/drawing/2014/main" id="{8AB6CA0E-6A26-AE30-03F0-BCC743B8DC9E}"/>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17" name="Trapezoid 16">
            <a:hlinkClick r:id="rId6" action="ppaction://hlinksldjump"/>
            <a:extLst>
              <a:ext uri="{FF2B5EF4-FFF2-40B4-BE49-F238E27FC236}">
                <a16:creationId xmlns:a16="http://schemas.microsoft.com/office/drawing/2014/main" id="{185879B8-F8C0-1F00-6903-12D72EDBBB16}"/>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20" name="Trapezoid 19">
            <a:hlinkClick r:id="rId7" action="ppaction://hlinksldjump"/>
            <a:extLst>
              <a:ext uri="{FF2B5EF4-FFF2-40B4-BE49-F238E27FC236}">
                <a16:creationId xmlns:a16="http://schemas.microsoft.com/office/drawing/2014/main" id="{717B481C-830E-A3AB-FAF5-46BD56DF4364}"/>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9" name="Trapezoid 18">
            <a:hlinkClick r:id="rId8" action="ppaction://hlinksldjump"/>
            <a:extLst>
              <a:ext uri="{FF2B5EF4-FFF2-40B4-BE49-F238E27FC236}">
                <a16:creationId xmlns:a16="http://schemas.microsoft.com/office/drawing/2014/main" id="{6D592A27-2580-ED27-D35C-8B012D0C72E1}"/>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8" name="Trapezoid 17">
            <a:hlinkClick r:id="rId9" action="ppaction://hlinksldjump"/>
            <a:extLst>
              <a:ext uri="{FF2B5EF4-FFF2-40B4-BE49-F238E27FC236}">
                <a16:creationId xmlns:a16="http://schemas.microsoft.com/office/drawing/2014/main" id="{1778CBFF-3136-5492-6739-6CDF765EDA3E}"/>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As-is Data Structure</a:t>
            </a:r>
          </a:p>
        </p:txBody>
      </p:sp>
      <p:sp>
        <p:nvSpPr>
          <p:cNvPr id="12" name="Rechteck 5">
            <a:extLst>
              <a:ext uri="{FF2B5EF4-FFF2-40B4-BE49-F238E27FC236}">
                <a16:creationId xmlns:a16="http://schemas.microsoft.com/office/drawing/2014/main" id="{84469A18-460C-EDC1-6503-8A9D238588C0}"/>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41814966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5A426-D21A-2FFC-D097-DDA5869C4B76}"/>
              </a:ext>
            </a:extLst>
          </p:cNvPr>
          <p:cNvSpPr>
            <a:spLocks noGrp="1"/>
          </p:cNvSpPr>
          <p:nvPr>
            <p:ph type="title"/>
          </p:nvPr>
        </p:nvSpPr>
        <p:spPr/>
        <p:txBody>
          <a:bodyPr/>
          <a:lstStyle/>
          <a:p>
            <a:r>
              <a:rPr lang="en-US" dirty="0"/>
              <a:t>Engineering Twins Target Process</a:t>
            </a:r>
          </a:p>
        </p:txBody>
      </p:sp>
      <p:sp>
        <p:nvSpPr>
          <p:cNvPr id="13" name="Trapezoid 12">
            <a:hlinkClick r:id="rId2" action="ppaction://hlinksldjump"/>
            <a:extLst>
              <a:ext uri="{FF2B5EF4-FFF2-40B4-BE49-F238E27FC236}">
                <a16:creationId xmlns:a16="http://schemas.microsoft.com/office/drawing/2014/main" id="{E716F55E-D718-7552-2F78-B32FDBE17F55}"/>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4" name="Trapezoid 13">
            <a:hlinkClick r:id="rId3" action="ppaction://hlinksldjump"/>
            <a:extLst>
              <a:ext uri="{FF2B5EF4-FFF2-40B4-BE49-F238E27FC236}">
                <a16:creationId xmlns:a16="http://schemas.microsoft.com/office/drawing/2014/main" id="{97DE619E-61CF-FDB1-EEDD-0BA2E7089402}"/>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5" name="Trapezoid 14">
            <a:hlinkClick r:id="rId4" action="ppaction://hlinksldjump"/>
            <a:extLst>
              <a:ext uri="{FF2B5EF4-FFF2-40B4-BE49-F238E27FC236}">
                <a16:creationId xmlns:a16="http://schemas.microsoft.com/office/drawing/2014/main" id="{77F4056E-9DE4-8976-2A7A-AC9DFF35EAD2}"/>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16" name="Trapezoid 15">
            <a:hlinkClick r:id="rId5" action="ppaction://hlinksldjump"/>
            <a:extLst>
              <a:ext uri="{FF2B5EF4-FFF2-40B4-BE49-F238E27FC236}">
                <a16:creationId xmlns:a16="http://schemas.microsoft.com/office/drawing/2014/main" id="{D2670DEC-1BE5-1138-D73D-7BBCCCD93712}"/>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20" name="Trapezoid 19">
            <a:hlinkClick r:id="rId6" action="ppaction://hlinksldjump"/>
            <a:extLst>
              <a:ext uri="{FF2B5EF4-FFF2-40B4-BE49-F238E27FC236}">
                <a16:creationId xmlns:a16="http://schemas.microsoft.com/office/drawing/2014/main" id="{BF2C07A7-F7A2-B897-8D72-331B658D2BB1}"/>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9" name="Trapezoid 18">
            <a:hlinkClick r:id="rId7" action="ppaction://hlinksldjump"/>
            <a:extLst>
              <a:ext uri="{FF2B5EF4-FFF2-40B4-BE49-F238E27FC236}">
                <a16:creationId xmlns:a16="http://schemas.microsoft.com/office/drawing/2014/main" id="{1E635511-8D79-BF01-9EC4-86E907323530}"/>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8" name="Trapezoid 17">
            <a:hlinkClick r:id="rId8" action="ppaction://hlinksldjump"/>
            <a:extLst>
              <a:ext uri="{FF2B5EF4-FFF2-40B4-BE49-F238E27FC236}">
                <a16:creationId xmlns:a16="http://schemas.microsoft.com/office/drawing/2014/main" id="{79D1186B-BDA6-DB26-6A29-C788835F3506}"/>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17" name="Trapezoid 16">
            <a:hlinkClick r:id="rId9" action="ppaction://hlinksldjump"/>
            <a:extLst>
              <a:ext uri="{FF2B5EF4-FFF2-40B4-BE49-F238E27FC236}">
                <a16:creationId xmlns:a16="http://schemas.microsoft.com/office/drawing/2014/main" id="{0641CB65-2C37-7645-24E8-D2D4A6BE394D}"/>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Target Process</a:t>
            </a:r>
          </a:p>
        </p:txBody>
      </p:sp>
      <p:sp>
        <p:nvSpPr>
          <p:cNvPr id="12" name="Rechteck 5">
            <a:extLst>
              <a:ext uri="{FF2B5EF4-FFF2-40B4-BE49-F238E27FC236}">
                <a16:creationId xmlns:a16="http://schemas.microsoft.com/office/drawing/2014/main" id="{E0A416DC-1486-C24C-B23D-784D06C96861}"/>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542633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47ECF-56E0-BB3E-81CF-CC911E8FB51B}"/>
              </a:ext>
            </a:extLst>
          </p:cNvPr>
          <p:cNvSpPr>
            <a:spLocks noGrp="1"/>
          </p:cNvSpPr>
          <p:nvPr>
            <p:ph type="title"/>
          </p:nvPr>
        </p:nvSpPr>
        <p:spPr/>
        <p:txBody>
          <a:bodyPr/>
          <a:lstStyle/>
          <a:p>
            <a:r>
              <a:rPr lang="en-US" dirty="0"/>
              <a:t>Engineering Twins Target Data-Structure</a:t>
            </a:r>
          </a:p>
        </p:txBody>
      </p:sp>
      <p:sp>
        <p:nvSpPr>
          <p:cNvPr id="13" name="Trapezoid 12">
            <a:hlinkClick r:id="rId2" action="ppaction://hlinksldjump"/>
            <a:extLst>
              <a:ext uri="{FF2B5EF4-FFF2-40B4-BE49-F238E27FC236}">
                <a16:creationId xmlns:a16="http://schemas.microsoft.com/office/drawing/2014/main" id="{88F9441C-9044-99ED-826C-6D8BFD0FF264}"/>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4" name="Trapezoid 13">
            <a:hlinkClick r:id="rId3" action="ppaction://hlinksldjump"/>
            <a:extLst>
              <a:ext uri="{FF2B5EF4-FFF2-40B4-BE49-F238E27FC236}">
                <a16:creationId xmlns:a16="http://schemas.microsoft.com/office/drawing/2014/main" id="{04C78549-90DD-C922-316B-2A97EFA86284}"/>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5" name="Trapezoid 14">
            <a:hlinkClick r:id="rId4" action="ppaction://hlinksldjump"/>
            <a:extLst>
              <a:ext uri="{FF2B5EF4-FFF2-40B4-BE49-F238E27FC236}">
                <a16:creationId xmlns:a16="http://schemas.microsoft.com/office/drawing/2014/main" id="{F0D68507-1900-22F8-F616-3ECF612D33D8}"/>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20" name="Trapezoid 19">
            <a:hlinkClick r:id="rId5" action="ppaction://hlinksldjump"/>
            <a:extLst>
              <a:ext uri="{FF2B5EF4-FFF2-40B4-BE49-F238E27FC236}">
                <a16:creationId xmlns:a16="http://schemas.microsoft.com/office/drawing/2014/main" id="{86AD62C1-D575-BE61-6B47-CA6F50C831A7}"/>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9" name="Trapezoid 18">
            <a:hlinkClick r:id="rId6" action="ppaction://hlinksldjump"/>
            <a:extLst>
              <a:ext uri="{FF2B5EF4-FFF2-40B4-BE49-F238E27FC236}">
                <a16:creationId xmlns:a16="http://schemas.microsoft.com/office/drawing/2014/main" id="{F1FDD400-05E8-1CC5-59EE-87D5FF8E5517}"/>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8" name="Trapezoid 17">
            <a:hlinkClick r:id="rId7" action="ppaction://hlinksldjump"/>
            <a:extLst>
              <a:ext uri="{FF2B5EF4-FFF2-40B4-BE49-F238E27FC236}">
                <a16:creationId xmlns:a16="http://schemas.microsoft.com/office/drawing/2014/main" id="{CBF5A335-24FD-B707-8F5C-C38C050BFCB2}"/>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17" name="Trapezoid 16">
            <a:hlinkClick r:id="rId8" action="ppaction://hlinksldjump"/>
            <a:extLst>
              <a:ext uri="{FF2B5EF4-FFF2-40B4-BE49-F238E27FC236}">
                <a16:creationId xmlns:a16="http://schemas.microsoft.com/office/drawing/2014/main" id="{C5D70583-FA61-4DBE-A0F0-8FA2D48D0FF2}"/>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6" name="Trapezoid 15">
            <a:hlinkClick r:id="rId9" action="ppaction://hlinksldjump"/>
            <a:extLst>
              <a:ext uri="{FF2B5EF4-FFF2-40B4-BE49-F238E27FC236}">
                <a16:creationId xmlns:a16="http://schemas.microsoft.com/office/drawing/2014/main" id="{48106A1B-6A3D-40A0-86E4-04CE3A3AB660}"/>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Target Data Structure</a:t>
            </a:r>
          </a:p>
        </p:txBody>
      </p:sp>
      <p:sp>
        <p:nvSpPr>
          <p:cNvPr id="12" name="Rechteck 5">
            <a:extLst>
              <a:ext uri="{FF2B5EF4-FFF2-40B4-BE49-F238E27FC236}">
                <a16:creationId xmlns:a16="http://schemas.microsoft.com/office/drawing/2014/main" id="{5C262A83-5767-53AE-9312-CADFFE80FBC6}"/>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402141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413E9-4EB1-6BA8-5409-C1C8501E7CBB}"/>
              </a:ext>
            </a:extLst>
          </p:cNvPr>
          <p:cNvSpPr>
            <a:spLocks noGrp="1"/>
          </p:cNvSpPr>
          <p:nvPr>
            <p:ph type="title"/>
          </p:nvPr>
        </p:nvSpPr>
        <p:spPr/>
        <p:txBody>
          <a:bodyPr/>
          <a:lstStyle/>
          <a:p>
            <a:r>
              <a:rPr lang="en-US" dirty="0"/>
              <a:t>Engineering Twins Business Model Canvas</a:t>
            </a:r>
          </a:p>
        </p:txBody>
      </p:sp>
      <p:sp>
        <p:nvSpPr>
          <p:cNvPr id="4" name="Trapezoid 3">
            <a:hlinkClick r:id="rId2" action="ppaction://hlinksldjump"/>
            <a:extLst>
              <a:ext uri="{FF2B5EF4-FFF2-40B4-BE49-F238E27FC236}">
                <a16:creationId xmlns:a16="http://schemas.microsoft.com/office/drawing/2014/main" id="{78C43758-A636-F4CF-6A30-58BAC3E18A5B}"/>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5" name="Trapezoid 4">
            <a:hlinkClick r:id="rId3" action="ppaction://hlinksldjump"/>
            <a:extLst>
              <a:ext uri="{FF2B5EF4-FFF2-40B4-BE49-F238E27FC236}">
                <a16:creationId xmlns:a16="http://schemas.microsoft.com/office/drawing/2014/main" id="{22458B9C-1D53-CF4E-BBF2-ACF9C2634798}"/>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11" name="Trapezoid 10">
            <a:hlinkClick r:id="rId4" action="ppaction://hlinksldjump"/>
            <a:extLst>
              <a:ext uri="{FF2B5EF4-FFF2-40B4-BE49-F238E27FC236}">
                <a16:creationId xmlns:a16="http://schemas.microsoft.com/office/drawing/2014/main" id="{8B803623-C514-0443-7404-9EF8B4B53A91}"/>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0" name="Trapezoid 9">
            <a:hlinkClick r:id="rId5" action="ppaction://hlinksldjump"/>
            <a:extLst>
              <a:ext uri="{FF2B5EF4-FFF2-40B4-BE49-F238E27FC236}">
                <a16:creationId xmlns:a16="http://schemas.microsoft.com/office/drawing/2014/main" id="{AF1B1219-59D5-F16A-9F19-A8D72C3F7634}"/>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9" name="Trapezoid 8">
            <a:hlinkClick r:id="rId6" action="ppaction://hlinksldjump"/>
            <a:extLst>
              <a:ext uri="{FF2B5EF4-FFF2-40B4-BE49-F238E27FC236}">
                <a16:creationId xmlns:a16="http://schemas.microsoft.com/office/drawing/2014/main" id="{1C396ABB-CD47-7275-E7EF-4CE8A44ADDCB}"/>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7" action="ppaction://hlinksldjump"/>
            <a:extLst>
              <a:ext uri="{FF2B5EF4-FFF2-40B4-BE49-F238E27FC236}">
                <a16:creationId xmlns:a16="http://schemas.microsoft.com/office/drawing/2014/main" id="{23FBDBBD-01B0-B82F-A824-8555A4F9D0F8}"/>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8" action="ppaction://hlinksldjump"/>
            <a:extLst>
              <a:ext uri="{FF2B5EF4-FFF2-40B4-BE49-F238E27FC236}">
                <a16:creationId xmlns:a16="http://schemas.microsoft.com/office/drawing/2014/main" id="{6FF93D0D-0ECE-A4E0-4B45-811AA4B5D0B8}"/>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6" name="Trapezoid 5">
            <a:hlinkClick r:id="rId9" action="ppaction://hlinksldjump"/>
            <a:extLst>
              <a:ext uri="{FF2B5EF4-FFF2-40B4-BE49-F238E27FC236}">
                <a16:creationId xmlns:a16="http://schemas.microsoft.com/office/drawing/2014/main" id="{695090A4-A9BD-CB9E-8B7C-BC49814D7E92}"/>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Business Model</a:t>
            </a:r>
          </a:p>
        </p:txBody>
      </p:sp>
      <p:sp>
        <p:nvSpPr>
          <p:cNvPr id="3" name="Rechteck 5">
            <a:extLst>
              <a:ext uri="{FF2B5EF4-FFF2-40B4-BE49-F238E27FC236}">
                <a16:creationId xmlns:a16="http://schemas.microsoft.com/office/drawing/2014/main" id="{F8CC3AB6-635B-7422-DD05-3EF544C7F258}"/>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205003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9CABE-4DF9-0E08-D799-10232FB5C149}"/>
              </a:ext>
            </a:extLst>
          </p:cNvPr>
          <p:cNvSpPr>
            <a:spLocks noGrp="1"/>
          </p:cNvSpPr>
          <p:nvPr>
            <p:ph type="title"/>
          </p:nvPr>
        </p:nvSpPr>
        <p:spPr/>
        <p:txBody>
          <a:bodyPr/>
          <a:lstStyle/>
          <a:p>
            <a:r>
              <a:rPr lang="en-US" dirty="0"/>
              <a:t>Engineering Twins Roadmap</a:t>
            </a:r>
          </a:p>
        </p:txBody>
      </p:sp>
      <p:sp>
        <p:nvSpPr>
          <p:cNvPr id="4" name="Trapezoid 3">
            <a:hlinkClick r:id="rId2" action="ppaction://hlinksldjump"/>
            <a:extLst>
              <a:ext uri="{FF2B5EF4-FFF2-40B4-BE49-F238E27FC236}">
                <a16:creationId xmlns:a16="http://schemas.microsoft.com/office/drawing/2014/main" id="{A99BFC76-4A9D-C5B3-A13D-B9C1A8E0ECCC}"/>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11" name="Trapezoid 10">
            <a:hlinkClick r:id="rId3" action="ppaction://hlinksldjump"/>
            <a:extLst>
              <a:ext uri="{FF2B5EF4-FFF2-40B4-BE49-F238E27FC236}">
                <a16:creationId xmlns:a16="http://schemas.microsoft.com/office/drawing/2014/main" id="{9DE2151E-D97F-E0FC-3F7C-38519C0C09D7}"/>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0" name="Trapezoid 9">
            <a:hlinkClick r:id="rId4" action="ppaction://hlinksldjump"/>
            <a:extLst>
              <a:ext uri="{FF2B5EF4-FFF2-40B4-BE49-F238E27FC236}">
                <a16:creationId xmlns:a16="http://schemas.microsoft.com/office/drawing/2014/main" id="{B8D392C9-6A55-E7F6-2420-B64DEB1417AA}"/>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9" name="Trapezoid 8">
            <a:hlinkClick r:id="rId5" action="ppaction://hlinksldjump"/>
            <a:extLst>
              <a:ext uri="{FF2B5EF4-FFF2-40B4-BE49-F238E27FC236}">
                <a16:creationId xmlns:a16="http://schemas.microsoft.com/office/drawing/2014/main" id="{3A1ACB4B-6C65-D129-5E06-EF938E37D500}"/>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6" action="ppaction://hlinksldjump"/>
            <a:extLst>
              <a:ext uri="{FF2B5EF4-FFF2-40B4-BE49-F238E27FC236}">
                <a16:creationId xmlns:a16="http://schemas.microsoft.com/office/drawing/2014/main" id="{B250AAA4-5237-60A5-BB39-E697EB722C71}"/>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7" action="ppaction://hlinksldjump"/>
            <a:extLst>
              <a:ext uri="{FF2B5EF4-FFF2-40B4-BE49-F238E27FC236}">
                <a16:creationId xmlns:a16="http://schemas.microsoft.com/office/drawing/2014/main" id="{3384B180-D024-12D7-F7D5-B0B6AF3E9D98}"/>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6" name="Trapezoid 5">
            <a:hlinkClick r:id="rId8" action="ppaction://hlinksldjump"/>
            <a:extLst>
              <a:ext uri="{FF2B5EF4-FFF2-40B4-BE49-F238E27FC236}">
                <a16:creationId xmlns:a16="http://schemas.microsoft.com/office/drawing/2014/main" id="{C44F5196-05BC-90EF-BFB9-8F60474F53CB}"/>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5" name="Trapezoid 4">
            <a:hlinkClick r:id="rId9" action="ppaction://hlinksldjump"/>
            <a:extLst>
              <a:ext uri="{FF2B5EF4-FFF2-40B4-BE49-F238E27FC236}">
                <a16:creationId xmlns:a16="http://schemas.microsoft.com/office/drawing/2014/main" id="{C2496E33-4BC5-085D-E483-92F7FF2B7ADB}"/>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Road-map</a:t>
            </a:r>
          </a:p>
        </p:txBody>
      </p:sp>
      <p:sp>
        <p:nvSpPr>
          <p:cNvPr id="3" name="Rechteck 5">
            <a:extLst>
              <a:ext uri="{FF2B5EF4-FFF2-40B4-BE49-F238E27FC236}">
                <a16:creationId xmlns:a16="http://schemas.microsoft.com/office/drawing/2014/main" id="{F022FF21-95CF-28EF-9103-5B507A97A093}"/>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graphicFrame>
        <p:nvGraphicFramePr>
          <p:cNvPr id="12" name="Chart 11">
            <a:extLst>
              <a:ext uri="{FF2B5EF4-FFF2-40B4-BE49-F238E27FC236}">
                <a16:creationId xmlns:a16="http://schemas.microsoft.com/office/drawing/2014/main" id="{87EB2C68-141F-CD17-3C66-605B7665E7DD}"/>
              </a:ext>
            </a:extLst>
          </p:cNvPr>
          <p:cNvGraphicFramePr/>
          <p:nvPr>
            <p:extLst>
              <p:ext uri="{D42A27DB-BD31-4B8C-83A1-F6EECF244321}">
                <p14:modId xmlns:p14="http://schemas.microsoft.com/office/powerpoint/2010/main" val="2895992874"/>
              </p:ext>
            </p:extLst>
          </p:nvPr>
        </p:nvGraphicFramePr>
        <p:xfrm>
          <a:off x="1" y="385404"/>
          <a:ext cx="9144000" cy="448498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153123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10153D-CEFB-F49D-0D36-F138862E890F}"/>
              </a:ext>
            </a:extLst>
          </p:cNvPr>
          <p:cNvSpPr txBox="1"/>
          <p:nvPr/>
        </p:nvSpPr>
        <p:spPr>
          <a:xfrm>
            <a:off x="225552" y="1507955"/>
            <a:ext cx="8705088" cy="3140090"/>
          </a:xfrm>
          <a:prstGeom prst="rect">
            <a:avLst/>
          </a:prstGeom>
          <a:noFill/>
        </p:spPr>
        <p:txBody>
          <a:bodyPr wrap="square" lIns="0" tIns="0" rIns="0" bIns="0" rtlCol="0">
            <a:spAutoFit/>
          </a:bodyPr>
          <a:lstStyle/>
          <a:p>
            <a:pPr marL="285750" indent="-285750">
              <a:lnSpc>
                <a:spcPct val="114000"/>
              </a:lnSpc>
              <a:buFont typeface="Arial" panose="020B0604020202020204" pitchFamily="34" charset="0"/>
              <a:buChar char="•"/>
            </a:pPr>
            <a:r>
              <a:rPr lang="en-US" sz="1200" dirty="0">
                <a:solidFill>
                  <a:schemeClr val="bg1">
                    <a:lumMod val="95000"/>
                  </a:schemeClr>
                </a:solidFill>
                <a:latin typeface="+mj-lt"/>
              </a:rPr>
              <a:t>For production and operation twins use the first slide section, for engineering twins the second</a:t>
            </a:r>
          </a:p>
          <a:p>
            <a:pPr marL="285750" indent="-285750">
              <a:lnSpc>
                <a:spcPct val="114000"/>
              </a:lnSpc>
              <a:buFont typeface="Arial" panose="020B0604020202020204" pitchFamily="34" charset="0"/>
              <a:buChar char="•"/>
            </a:pPr>
            <a:r>
              <a:rPr lang="en-US" sz="1200" dirty="0">
                <a:solidFill>
                  <a:schemeClr val="bg1">
                    <a:lumMod val="95000"/>
                  </a:schemeClr>
                </a:solidFill>
                <a:latin typeface="+mj-lt"/>
              </a:rPr>
              <a:t>In presentation mode, the template is clickable</a:t>
            </a:r>
          </a:p>
          <a:p>
            <a:pPr marL="285750" indent="-285750">
              <a:lnSpc>
                <a:spcPct val="114000"/>
              </a:lnSpc>
              <a:buFont typeface="Arial" panose="020B0604020202020204" pitchFamily="34" charset="0"/>
              <a:buChar char="•"/>
            </a:pPr>
            <a:r>
              <a:rPr lang="en-US" sz="1200" dirty="0">
                <a:solidFill>
                  <a:schemeClr val="bg1">
                    <a:lumMod val="95000"/>
                  </a:schemeClr>
                </a:solidFill>
                <a:latin typeface="+mj-lt"/>
              </a:rPr>
              <a:t>For each use case an individual copy of this slide deck should be generated</a:t>
            </a:r>
          </a:p>
          <a:p>
            <a:pPr marL="285750" indent="-285750">
              <a:lnSpc>
                <a:spcPct val="114000"/>
              </a:lnSpc>
              <a:buFont typeface="Arial" panose="020B0604020202020204" pitchFamily="34" charset="0"/>
              <a:buChar char="•"/>
            </a:pPr>
            <a:r>
              <a:rPr lang="en-US" sz="1200" dirty="0">
                <a:solidFill>
                  <a:schemeClr val="bg1">
                    <a:lumMod val="95000"/>
                  </a:schemeClr>
                </a:solidFill>
                <a:latin typeface="+mj-lt"/>
              </a:rPr>
              <a:t>For the Graphs, you can use visualization software such as Microsoft Visio, </a:t>
            </a:r>
            <a:r>
              <a:rPr lang="en-US" sz="1200" dirty="0" err="1">
                <a:solidFill>
                  <a:schemeClr val="bg1">
                    <a:lumMod val="95000"/>
                  </a:schemeClr>
                </a:solidFill>
                <a:latin typeface="+mj-lt"/>
              </a:rPr>
              <a:t>lucidchart</a:t>
            </a:r>
            <a:r>
              <a:rPr lang="en-US" sz="1200" dirty="0">
                <a:solidFill>
                  <a:schemeClr val="bg1">
                    <a:lumMod val="95000"/>
                  </a:schemeClr>
                </a:solidFill>
                <a:latin typeface="+mj-lt"/>
              </a:rPr>
              <a:t>, or PowerPoint.</a:t>
            </a:r>
          </a:p>
          <a:p>
            <a:pPr marL="285750" indent="-285750">
              <a:lnSpc>
                <a:spcPct val="114000"/>
              </a:lnSpc>
              <a:buFont typeface="Arial" panose="020B0604020202020204" pitchFamily="34" charset="0"/>
              <a:buChar char="•"/>
            </a:pPr>
            <a:endParaRPr lang="en-US" sz="1200" dirty="0">
              <a:solidFill>
                <a:schemeClr val="bg1">
                  <a:lumMod val="95000"/>
                </a:schemeClr>
              </a:solidFill>
              <a:latin typeface="+mj-lt"/>
            </a:endParaRPr>
          </a:p>
          <a:p>
            <a:pPr marL="285750" indent="-285750">
              <a:lnSpc>
                <a:spcPct val="114000"/>
              </a:lnSpc>
              <a:buFont typeface="Arial" panose="020B0604020202020204" pitchFamily="34" charset="0"/>
              <a:buChar char="•"/>
            </a:pPr>
            <a:r>
              <a:rPr lang="en-US" sz="1200" dirty="0">
                <a:solidFill>
                  <a:schemeClr val="bg1">
                    <a:lumMod val="95000"/>
                  </a:schemeClr>
                </a:solidFill>
                <a:latin typeface="+mj-lt"/>
              </a:rPr>
              <a:t>Applications of the use case template can be found in:</a:t>
            </a:r>
          </a:p>
          <a:p>
            <a:pPr marL="742950" lvl="1" indent="-285750">
              <a:lnSpc>
                <a:spcPct val="114000"/>
              </a:lnSpc>
              <a:buFont typeface="Arial" panose="020B0604020202020204" pitchFamily="34" charset="0"/>
              <a:buChar char="•"/>
            </a:pPr>
            <a:r>
              <a:rPr lang="en-US" sz="1200" dirty="0">
                <a:solidFill>
                  <a:schemeClr val="bg1">
                    <a:lumMod val="95000"/>
                  </a:schemeClr>
                </a:solidFill>
                <a:latin typeface="+mj-lt"/>
              </a:rPr>
              <a:t> Schweigert-Recksiek, S., Trauer, J., Engel, C., Spreitzer, K., &amp; Zimmermann, M. (2020). CONCEPTION OF A DIGITAL TWIN IN MECHANICAL ENGINEERING – A CASE STUDY IN TECHNICAL PRODUCT DEVELOPMENT. Proceedings of the Design Society: DESIGN Conference, 1, 383–392. </a:t>
            </a:r>
            <a:r>
              <a:rPr lang="en-US" sz="1200" dirty="0">
                <a:solidFill>
                  <a:schemeClr val="bg1">
                    <a:lumMod val="95000"/>
                  </a:schemeClr>
                </a:solidFill>
                <a:latin typeface="+mj-lt"/>
                <a:hlinkClick r:id="rId2">
                  <a:extLst>
                    <a:ext uri="{A12FA001-AC4F-418D-AE19-62706E023703}">
                      <ahyp:hlinkClr xmlns:ahyp="http://schemas.microsoft.com/office/drawing/2018/hyperlinkcolor" val="tx"/>
                    </a:ext>
                  </a:extLst>
                </a:hlinkClick>
              </a:rPr>
              <a:t>https://doi.org/10.1017/dsd.2020.23</a:t>
            </a:r>
            <a:endParaRPr lang="en-US" sz="1200" dirty="0">
              <a:solidFill>
                <a:schemeClr val="bg1">
                  <a:lumMod val="95000"/>
                </a:schemeClr>
              </a:solidFill>
              <a:latin typeface="+mj-lt"/>
            </a:endParaRPr>
          </a:p>
          <a:p>
            <a:pPr marL="742950" lvl="1" indent="-285750">
              <a:lnSpc>
                <a:spcPct val="114000"/>
              </a:lnSpc>
              <a:buFont typeface="Arial" panose="020B0604020202020204" pitchFamily="34" charset="0"/>
              <a:buChar char="•"/>
            </a:pPr>
            <a:r>
              <a:rPr lang="en-US" sz="1200" dirty="0">
                <a:solidFill>
                  <a:schemeClr val="bg1">
                    <a:lumMod val="95000"/>
                  </a:schemeClr>
                </a:solidFill>
                <a:latin typeface="+mj-lt"/>
              </a:rPr>
              <a:t>Trauer, J., Pfingstl, S., Finsterer, M., &amp; Zimmermann, M. (2021). Improving Production Efficiency with a Digital Twin Based on Anomaly Detection. Sustainability, 13(18), 10155. </a:t>
            </a:r>
            <a:r>
              <a:rPr lang="en-US" sz="1200" dirty="0">
                <a:solidFill>
                  <a:schemeClr val="bg1">
                    <a:lumMod val="95000"/>
                  </a:schemeClr>
                </a:solidFill>
                <a:latin typeface="+mj-lt"/>
                <a:hlinkClick r:id="rId3">
                  <a:extLst>
                    <a:ext uri="{A12FA001-AC4F-418D-AE19-62706E023703}">
                      <ahyp:hlinkClr xmlns:ahyp="http://schemas.microsoft.com/office/drawing/2018/hyperlinkcolor" val="tx"/>
                    </a:ext>
                  </a:extLst>
                </a:hlinkClick>
              </a:rPr>
              <a:t>https://doi.org/10.3390/su131810155</a:t>
            </a:r>
            <a:endParaRPr lang="en-US" sz="1200" dirty="0">
              <a:solidFill>
                <a:schemeClr val="bg1">
                  <a:lumMod val="95000"/>
                </a:schemeClr>
              </a:solidFill>
              <a:latin typeface="+mj-lt"/>
            </a:endParaRPr>
          </a:p>
          <a:p>
            <a:pPr marL="742950" lvl="1" indent="-285750">
              <a:lnSpc>
                <a:spcPct val="114000"/>
              </a:lnSpc>
              <a:buFont typeface="Arial" panose="020B0604020202020204" pitchFamily="34" charset="0"/>
              <a:buChar char="•"/>
            </a:pPr>
            <a:r>
              <a:rPr lang="de-DE" sz="1200" dirty="0">
                <a:solidFill>
                  <a:schemeClr val="bg1">
                    <a:lumMod val="95000"/>
                  </a:schemeClr>
                </a:solidFill>
                <a:effectLst/>
                <a:latin typeface="+mj-lt"/>
                <a:ea typeface="Calibri" panose="020F0502020204030204" pitchFamily="34" charset="0"/>
                <a:cs typeface="Times New Roman" panose="02020603050405020304" pitchFamily="18" charset="0"/>
              </a:rPr>
              <a:t>Schweigert-Recksiek, S., Trauer, J., Julian Wilberg, Bernd Stöhr, Louis Mahlau, Murat Saygin, Spreitzer, K., Engel, C., Mörtl, M [Markus], &amp; Zimmermann, M. (2022). </a:t>
            </a:r>
            <a:r>
              <a:rPr lang="de-DE" sz="1200" i="1" dirty="0">
                <a:solidFill>
                  <a:schemeClr val="bg1">
                    <a:lumMod val="95000"/>
                  </a:schemeClr>
                </a:solidFill>
                <a:effectLst/>
                <a:latin typeface="+mj-lt"/>
                <a:ea typeface="Calibri" panose="020F0502020204030204" pitchFamily="34" charset="0"/>
                <a:cs typeface="Times New Roman" panose="02020603050405020304" pitchFamily="18" charset="0"/>
              </a:rPr>
              <a:t>Einführung eines digitalen Zwillings in die technische Produktentwicklung. </a:t>
            </a:r>
            <a:r>
              <a:rPr lang="de-DE" sz="1200" dirty="0">
                <a:solidFill>
                  <a:schemeClr val="bg1">
                    <a:lumMod val="95000"/>
                  </a:schemeClr>
                </a:solidFill>
                <a:effectLst/>
                <a:latin typeface="+mj-lt"/>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https://doi.org/10.13140/RG.2.2.34190.23365</a:t>
            </a:r>
            <a:endParaRPr lang="de-DE" sz="1200" dirty="0">
              <a:solidFill>
                <a:schemeClr val="bg1">
                  <a:lumMod val="95000"/>
                </a:schemeClr>
              </a:solidFill>
              <a:effectLst/>
              <a:latin typeface="+mj-lt"/>
              <a:ea typeface="Calibri" panose="020F0502020204030204" pitchFamily="34" charset="0"/>
              <a:cs typeface="Times New Roman" panose="02020603050405020304" pitchFamily="18" charset="0"/>
            </a:endParaRPr>
          </a:p>
          <a:p>
            <a:pPr marL="285750" indent="-285750">
              <a:lnSpc>
                <a:spcPct val="114000"/>
              </a:lnSpc>
              <a:buFont typeface="Arial" panose="020B0604020202020204" pitchFamily="34" charset="0"/>
              <a:buChar char="•"/>
            </a:pPr>
            <a:endParaRPr lang="en-US" sz="1200" dirty="0">
              <a:solidFill>
                <a:schemeClr val="bg1">
                  <a:lumMod val="95000"/>
                </a:schemeClr>
              </a:solidFill>
              <a:latin typeface="+mj-lt"/>
            </a:endParaRPr>
          </a:p>
        </p:txBody>
      </p:sp>
      <p:sp>
        <p:nvSpPr>
          <p:cNvPr id="3" name="TextBox 2">
            <a:extLst>
              <a:ext uri="{FF2B5EF4-FFF2-40B4-BE49-F238E27FC236}">
                <a16:creationId xmlns:a16="http://schemas.microsoft.com/office/drawing/2014/main" id="{7A5A3FAD-9182-3B49-9E9D-698774F3C675}"/>
              </a:ext>
            </a:extLst>
          </p:cNvPr>
          <p:cNvSpPr txBox="1"/>
          <p:nvPr/>
        </p:nvSpPr>
        <p:spPr>
          <a:xfrm>
            <a:off x="225552" y="792480"/>
            <a:ext cx="1175002" cy="257250"/>
          </a:xfrm>
          <a:prstGeom prst="rect">
            <a:avLst/>
          </a:prstGeom>
          <a:noFill/>
        </p:spPr>
        <p:txBody>
          <a:bodyPr wrap="none" lIns="0" tIns="0" rIns="0" bIns="0" rtlCol="0">
            <a:spAutoFit/>
          </a:bodyPr>
          <a:lstStyle/>
          <a:p>
            <a:pPr>
              <a:lnSpc>
                <a:spcPct val="114000"/>
              </a:lnSpc>
            </a:pPr>
            <a:r>
              <a:rPr lang="en-US" sz="1600" b="1" dirty="0">
                <a:solidFill>
                  <a:schemeClr val="bg1">
                    <a:lumMod val="95000"/>
                  </a:schemeClr>
                </a:solidFill>
                <a:latin typeface="+mn-lt"/>
              </a:rPr>
              <a:t>Instructions</a:t>
            </a:r>
          </a:p>
        </p:txBody>
      </p:sp>
    </p:spTree>
    <p:extLst>
      <p:ext uri="{BB962C8B-B14F-4D97-AF65-F5344CB8AC3E}">
        <p14:creationId xmlns:p14="http://schemas.microsoft.com/office/powerpoint/2010/main" val="30975207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8A833-1534-50F7-5AD1-A2935EEE7B3F}"/>
              </a:ext>
            </a:extLst>
          </p:cNvPr>
          <p:cNvSpPr>
            <a:spLocks noGrp="1"/>
          </p:cNvSpPr>
          <p:nvPr>
            <p:ph type="title"/>
          </p:nvPr>
        </p:nvSpPr>
        <p:spPr/>
        <p:txBody>
          <a:bodyPr/>
          <a:lstStyle/>
          <a:p>
            <a:r>
              <a:rPr lang="en-US" dirty="0"/>
              <a:t>Engineering Twins Target Additional Information</a:t>
            </a:r>
          </a:p>
        </p:txBody>
      </p:sp>
      <p:sp>
        <p:nvSpPr>
          <p:cNvPr id="11" name="Trapezoid 10">
            <a:hlinkClick r:id="rId2" action="ppaction://hlinksldjump"/>
            <a:extLst>
              <a:ext uri="{FF2B5EF4-FFF2-40B4-BE49-F238E27FC236}">
                <a16:creationId xmlns:a16="http://schemas.microsoft.com/office/drawing/2014/main" id="{166E4A7B-BCB4-1483-4895-3DAE0FBA7C22}"/>
              </a:ext>
            </a:extLst>
          </p:cNvPr>
          <p:cNvSpPr>
            <a:spLocks noGrp="1" noRot="1" noMove="1" noResize="1" noEditPoints="1" noAdjustHandles="1" noChangeArrowheads="1" noChangeShapeType="1"/>
          </p:cNvSpPr>
          <p:nvPr/>
        </p:nvSpPr>
        <p:spPr>
          <a:xfrm>
            <a:off x="1717892" y="0"/>
            <a:ext cx="91675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0" name="Trapezoid 9">
            <a:hlinkClick r:id="rId3" action="ppaction://hlinksldjump"/>
            <a:extLst>
              <a:ext uri="{FF2B5EF4-FFF2-40B4-BE49-F238E27FC236}">
                <a16:creationId xmlns:a16="http://schemas.microsoft.com/office/drawing/2014/main" id="{4132B82B-93A2-2905-4BF7-E29F36E7E9AA}"/>
              </a:ext>
            </a:extLst>
          </p:cNvPr>
          <p:cNvSpPr>
            <a:spLocks noGrp="1" noRot="1" noMove="1" noResize="1" noEditPoints="1" noAdjustHandles="1" noChangeArrowheads="1" noChangeShapeType="1"/>
          </p:cNvSpPr>
          <p:nvPr/>
        </p:nvSpPr>
        <p:spPr>
          <a:xfrm>
            <a:off x="2583144" y="0"/>
            <a:ext cx="82262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9" name="Trapezoid 8">
            <a:hlinkClick r:id="rId4" action="ppaction://hlinksldjump"/>
            <a:extLst>
              <a:ext uri="{FF2B5EF4-FFF2-40B4-BE49-F238E27FC236}">
                <a16:creationId xmlns:a16="http://schemas.microsoft.com/office/drawing/2014/main" id="{328247E3-0755-0D74-EA25-E3D04F240D3C}"/>
              </a:ext>
            </a:extLst>
          </p:cNvPr>
          <p:cNvSpPr>
            <a:spLocks noGrp="1" noRot="1" noMove="1" noResize="1" noEditPoints="1" noAdjustHandles="1" noChangeArrowheads="1" noChangeShapeType="1"/>
          </p:cNvSpPr>
          <p:nvPr/>
        </p:nvSpPr>
        <p:spPr>
          <a:xfrm>
            <a:off x="3354267" y="0"/>
            <a:ext cx="944585"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5" action="ppaction://hlinksldjump"/>
            <a:extLst>
              <a:ext uri="{FF2B5EF4-FFF2-40B4-BE49-F238E27FC236}">
                <a16:creationId xmlns:a16="http://schemas.microsoft.com/office/drawing/2014/main" id="{3B716816-6E7D-95A7-0C35-0E75749CE3D3}"/>
              </a:ext>
            </a:extLst>
          </p:cNvPr>
          <p:cNvSpPr>
            <a:spLocks noGrp="1" noRot="1" noMove="1" noResize="1" noEditPoints="1" noAdjustHandles="1" noChangeArrowheads="1" noChangeShapeType="1"/>
          </p:cNvSpPr>
          <p:nvPr/>
        </p:nvSpPr>
        <p:spPr>
          <a:xfrm>
            <a:off x="4247346" y="0"/>
            <a:ext cx="80930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6" action="ppaction://hlinksldjump"/>
            <a:extLst>
              <a:ext uri="{FF2B5EF4-FFF2-40B4-BE49-F238E27FC236}">
                <a16:creationId xmlns:a16="http://schemas.microsoft.com/office/drawing/2014/main" id="{9AC45D13-0459-E0C4-5BAB-B400F5D7A09D}"/>
              </a:ext>
            </a:extLst>
          </p:cNvPr>
          <p:cNvSpPr>
            <a:spLocks noGrp="1" noRot="1" noMove="1" noResize="1" noEditPoints="1" noAdjustHandles="1" noChangeArrowheads="1" noChangeShapeType="1"/>
          </p:cNvSpPr>
          <p:nvPr/>
        </p:nvSpPr>
        <p:spPr>
          <a:xfrm>
            <a:off x="5005144" y="0"/>
            <a:ext cx="1079698"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6" name="Trapezoid 5">
            <a:hlinkClick r:id="rId7" action="ppaction://hlinksldjump"/>
            <a:extLst>
              <a:ext uri="{FF2B5EF4-FFF2-40B4-BE49-F238E27FC236}">
                <a16:creationId xmlns:a16="http://schemas.microsoft.com/office/drawing/2014/main" id="{4E050B73-7D12-92E9-1A08-41D505BE4CE0}"/>
              </a:ext>
            </a:extLst>
          </p:cNvPr>
          <p:cNvSpPr>
            <a:spLocks noGrp="1" noRot="1" noMove="1" noResize="1" noEditPoints="1" noAdjustHandles="1" noChangeArrowheads="1" noChangeShapeType="1"/>
          </p:cNvSpPr>
          <p:nvPr/>
        </p:nvSpPr>
        <p:spPr>
          <a:xfrm>
            <a:off x="6033336" y="0"/>
            <a:ext cx="87094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5" name="Trapezoid 4">
            <a:hlinkClick r:id="rId8" action="ppaction://hlinksldjump"/>
            <a:extLst>
              <a:ext uri="{FF2B5EF4-FFF2-40B4-BE49-F238E27FC236}">
                <a16:creationId xmlns:a16="http://schemas.microsoft.com/office/drawing/2014/main" id="{0F7B06B1-E95F-FA09-2824-FC76C476D156}"/>
              </a:ext>
            </a:extLst>
          </p:cNvPr>
          <p:cNvSpPr>
            <a:spLocks noGrp="1" noRot="1" noMove="1" noResize="1" noEditPoints="1" noAdjustHandles="1" noChangeArrowheads="1" noChangeShapeType="1"/>
          </p:cNvSpPr>
          <p:nvPr/>
        </p:nvSpPr>
        <p:spPr>
          <a:xfrm>
            <a:off x="6852770" y="0"/>
            <a:ext cx="78977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4" name="Trapezoid 3">
            <a:hlinkClick r:id="rId9" action="ppaction://hlinksldjump"/>
            <a:extLst>
              <a:ext uri="{FF2B5EF4-FFF2-40B4-BE49-F238E27FC236}">
                <a16:creationId xmlns:a16="http://schemas.microsoft.com/office/drawing/2014/main" id="{B590EA00-4C27-CF64-7292-EF4C6A66893D}"/>
              </a:ext>
            </a:extLst>
          </p:cNvPr>
          <p:cNvSpPr>
            <a:spLocks noGrp="1" noRot="1" noMove="1" noResize="1" noEditPoints="1" noAdjustHandles="1" noChangeArrowheads="1" noChangeShapeType="1"/>
          </p:cNvSpPr>
          <p:nvPr/>
        </p:nvSpPr>
        <p:spPr>
          <a:xfrm>
            <a:off x="7591040" y="5676"/>
            <a:ext cx="789776"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Further Info</a:t>
            </a:r>
          </a:p>
        </p:txBody>
      </p:sp>
      <p:sp>
        <p:nvSpPr>
          <p:cNvPr id="3" name="Rechteck 5">
            <a:extLst>
              <a:ext uri="{FF2B5EF4-FFF2-40B4-BE49-F238E27FC236}">
                <a16:creationId xmlns:a16="http://schemas.microsoft.com/office/drawing/2014/main" id="{72392388-636D-A7A1-B280-F10D4E1DE5E2}"/>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
        <p:nvSpPr>
          <p:cNvPr id="32" name="Rechteck: abgerundete Ecken 18">
            <a:extLst>
              <a:ext uri="{FF2B5EF4-FFF2-40B4-BE49-F238E27FC236}">
                <a16:creationId xmlns:a16="http://schemas.microsoft.com/office/drawing/2014/main" id="{E26C0579-3C2A-B98A-602C-FCEEBE575A57}"/>
              </a:ext>
            </a:extLst>
          </p:cNvPr>
          <p:cNvSpPr/>
          <p:nvPr/>
        </p:nvSpPr>
        <p:spPr>
          <a:xfrm>
            <a:off x="21475" y="429483"/>
            <a:ext cx="5313924" cy="269261"/>
          </a:xfrm>
          <a:prstGeom prst="roundRect">
            <a:avLst>
              <a:gd name="adj" fmla="val 1470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Product</a:t>
            </a:r>
            <a:r>
              <a:rPr lang="de-DE" sz="1000" b="1" dirty="0">
                <a:solidFill>
                  <a:schemeClr val="tx1"/>
                </a:solidFill>
              </a:rPr>
              <a:t>: </a:t>
            </a:r>
            <a:r>
              <a:rPr lang="de-DE" sz="800" dirty="0">
                <a:solidFill>
                  <a:schemeClr val="tx1"/>
                </a:solidFill>
              </a:rPr>
              <a:t>&lt;</a:t>
            </a:r>
            <a:r>
              <a:rPr lang="de-DE" sz="800" dirty="0" err="1">
                <a:solidFill>
                  <a:schemeClr val="tx1"/>
                </a:solidFill>
              </a:rPr>
              <a:t>Product</a:t>
            </a:r>
            <a:r>
              <a:rPr lang="de-DE" sz="800" dirty="0">
                <a:solidFill>
                  <a:schemeClr val="tx1"/>
                </a:solidFill>
              </a:rPr>
              <a:t>/</a:t>
            </a:r>
            <a:r>
              <a:rPr lang="de-DE" sz="800" dirty="0" err="1">
                <a:solidFill>
                  <a:schemeClr val="tx1"/>
                </a:solidFill>
              </a:rPr>
              <a:t>Component</a:t>
            </a:r>
            <a:r>
              <a:rPr lang="de-DE" sz="800" dirty="0">
                <a:solidFill>
                  <a:schemeClr val="tx1"/>
                </a:solidFill>
              </a:rPr>
              <a:t> </a:t>
            </a:r>
            <a:r>
              <a:rPr lang="de-DE" sz="800" dirty="0" err="1">
                <a:solidFill>
                  <a:schemeClr val="tx1"/>
                </a:solidFill>
              </a:rPr>
              <a:t>to</a:t>
            </a:r>
            <a:r>
              <a:rPr lang="de-DE" sz="800" dirty="0">
                <a:solidFill>
                  <a:schemeClr val="tx1"/>
                </a:solidFill>
              </a:rPr>
              <a:t> </a:t>
            </a:r>
            <a:r>
              <a:rPr lang="de-DE" sz="800" dirty="0" err="1">
                <a:solidFill>
                  <a:schemeClr val="tx1"/>
                </a:solidFill>
              </a:rPr>
              <a:t>be</a:t>
            </a:r>
            <a:r>
              <a:rPr lang="de-DE" sz="800" dirty="0">
                <a:solidFill>
                  <a:schemeClr val="tx1"/>
                </a:solidFill>
              </a:rPr>
              <a:t> </a:t>
            </a:r>
            <a:r>
              <a:rPr lang="de-DE" sz="800" dirty="0" err="1">
                <a:solidFill>
                  <a:schemeClr val="tx1"/>
                </a:solidFill>
              </a:rPr>
              <a:t>twinned</a:t>
            </a:r>
            <a:r>
              <a:rPr lang="de-DE" sz="800" dirty="0">
                <a:solidFill>
                  <a:schemeClr val="tx1"/>
                </a:solidFill>
              </a:rPr>
              <a:t>&gt;</a:t>
            </a:r>
          </a:p>
        </p:txBody>
      </p:sp>
      <p:sp>
        <p:nvSpPr>
          <p:cNvPr id="33" name="Rechteck: abgerundete Ecken 19">
            <a:extLst>
              <a:ext uri="{FF2B5EF4-FFF2-40B4-BE49-F238E27FC236}">
                <a16:creationId xmlns:a16="http://schemas.microsoft.com/office/drawing/2014/main" id="{1546F14B-13D2-49F7-3656-472BBB197EBD}"/>
              </a:ext>
            </a:extLst>
          </p:cNvPr>
          <p:cNvSpPr/>
          <p:nvPr/>
        </p:nvSpPr>
        <p:spPr>
          <a:xfrm>
            <a:off x="21475" y="719440"/>
            <a:ext cx="5313924" cy="453035"/>
          </a:xfrm>
          <a:prstGeom prst="roundRect">
            <a:avLst>
              <a:gd name="adj" fmla="val 874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Process</a:t>
            </a:r>
            <a:r>
              <a:rPr lang="de-DE" sz="1000" b="1" dirty="0">
                <a:solidFill>
                  <a:schemeClr val="tx1"/>
                </a:solidFill>
              </a:rPr>
              <a:t>: </a:t>
            </a:r>
            <a:r>
              <a:rPr lang="de-DE" sz="800" dirty="0">
                <a:solidFill>
                  <a:schemeClr val="tx1"/>
                </a:solidFill>
              </a:rPr>
              <a:t>&lt;Underlying </a:t>
            </a:r>
            <a:r>
              <a:rPr lang="de-DE" sz="800" dirty="0" err="1">
                <a:solidFill>
                  <a:schemeClr val="tx1"/>
                </a:solidFill>
              </a:rPr>
              <a:t>process</a:t>
            </a:r>
            <a:r>
              <a:rPr lang="de-DE" sz="800" dirty="0">
                <a:solidFill>
                  <a:schemeClr val="tx1"/>
                </a:solidFill>
              </a:rPr>
              <a:t>/</a:t>
            </a:r>
            <a:r>
              <a:rPr lang="de-DE" sz="800" dirty="0" err="1">
                <a:solidFill>
                  <a:schemeClr val="tx1"/>
                </a:solidFill>
              </a:rPr>
              <a:t>function</a:t>
            </a:r>
            <a:r>
              <a:rPr lang="de-DE" sz="800" dirty="0">
                <a:solidFill>
                  <a:schemeClr val="tx1"/>
                </a:solidFill>
              </a:rPr>
              <a:t> </a:t>
            </a:r>
            <a:r>
              <a:rPr lang="de-DE" sz="800" dirty="0" err="1">
                <a:solidFill>
                  <a:schemeClr val="tx1"/>
                </a:solidFill>
              </a:rPr>
              <a:t>of</a:t>
            </a:r>
            <a:r>
              <a:rPr lang="de-DE" sz="800" dirty="0">
                <a:solidFill>
                  <a:schemeClr val="tx1"/>
                </a:solidFill>
              </a:rPr>
              <a:t> </a:t>
            </a:r>
            <a:r>
              <a:rPr lang="de-DE" sz="800" dirty="0" err="1">
                <a:solidFill>
                  <a:schemeClr val="tx1"/>
                </a:solidFill>
              </a:rPr>
              <a:t>the</a:t>
            </a:r>
            <a:r>
              <a:rPr lang="de-DE" sz="800" dirty="0">
                <a:solidFill>
                  <a:schemeClr val="tx1"/>
                </a:solidFill>
              </a:rPr>
              <a:t> </a:t>
            </a:r>
            <a:r>
              <a:rPr lang="de-DE" sz="800" dirty="0" err="1">
                <a:solidFill>
                  <a:schemeClr val="tx1"/>
                </a:solidFill>
              </a:rPr>
              <a:t>twinned</a:t>
            </a:r>
            <a:r>
              <a:rPr lang="de-DE" sz="800" dirty="0">
                <a:solidFill>
                  <a:schemeClr val="tx1"/>
                </a:solidFill>
              </a:rPr>
              <a:t> </a:t>
            </a:r>
            <a:r>
              <a:rPr lang="de-DE" sz="800" dirty="0" err="1">
                <a:solidFill>
                  <a:schemeClr val="tx1"/>
                </a:solidFill>
              </a:rPr>
              <a:t>product</a:t>
            </a:r>
            <a:r>
              <a:rPr lang="de-DE" sz="800" dirty="0">
                <a:solidFill>
                  <a:schemeClr val="tx1"/>
                </a:solidFill>
              </a:rPr>
              <a:t>&gt;</a:t>
            </a:r>
          </a:p>
        </p:txBody>
      </p:sp>
      <p:graphicFrame>
        <p:nvGraphicFramePr>
          <p:cNvPr id="34" name="Tabelle 15">
            <a:extLst>
              <a:ext uri="{FF2B5EF4-FFF2-40B4-BE49-F238E27FC236}">
                <a16:creationId xmlns:a16="http://schemas.microsoft.com/office/drawing/2014/main" id="{1E25F807-11DD-8D69-734F-DFAD0F5FEBBA}"/>
              </a:ext>
            </a:extLst>
          </p:cNvPr>
          <p:cNvGraphicFramePr>
            <a:graphicFrameLocks noGrp="1"/>
          </p:cNvGraphicFramePr>
          <p:nvPr>
            <p:extLst>
              <p:ext uri="{D42A27DB-BD31-4B8C-83A1-F6EECF244321}">
                <p14:modId xmlns:p14="http://schemas.microsoft.com/office/powerpoint/2010/main" val="753730385"/>
              </p:ext>
            </p:extLst>
          </p:nvPr>
        </p:nvGraphicFramePr>
        <p:xfrm>
          <a:off x="28672" y="1193171"/>
          <a:ext cx="5311219" cy="1005840"/>
        </p:xfrm>
        <a:graphic>
          <a:graphicData uri="http://schemas.openxmlformats.org/drawingml/2006/table">
            <a:tbl>
              <a:tblPr firstRow="1" bandRow="1">
                <a:tableStyleId>{2D5ABB26-0587-4C30-8999-92F81FD0307C}</a:tableStyleId>
              </a:tblPr>
              <a:tblGrid>
                <a:gridCol w="1363489">
                  <a:extLst>
                    <a:ext uri="{9D8B030D-6E8A-4147-A177-3AD203B41FA5}">
                      <a16:colId xmlns:a16="http://schemas.microsoft.com/office/drawing/2014/main" val="4270361833"/>
                    </a:ext>
                  </a:extLst>
                </a:gridCol>
                <a:gridCol w="3947730">
                  <a:extLst>
                    <a:ext uri="{9D8B030D-6E8A-4147-A177-3AD203B41FA5}">
                      <a16:colId xmlns:a16="http://schemas.microsoft.com/office/drawing/2014/main" val="2870146279"/>
                    </a:ext>
                  </a:extLst>
                </a:gridCol>
              </a:tblGrid>
              <a:tr h="205673">
                <a:tc gridSpan="2">
                  <a:txBody>
                    <a:bodyPr/>
                    <a:lstStyle/>
                    <a:p>
                      <a:pPr algn="ctr"/>
                      <a:r>
                        <a:rPr lang="de-DE" sz="800" b="1" dirty="0"/>
                        <a:t>Model </a:t>
                      </a:r>
                      <a:r>
                        <a:rPr lang="de-DE" sz="800" b="1" dirty="0" err="1"/>
                        <a:t>Existence</a:t>
                      </a:r>
                      <a:endParaRPr lang="de-DE"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191582">
                <a:tc>
                  <a:txBody>
                    <a:bodyPr/>
                    <a:lstStyle/>
                    <a:p>
                      <a:endParaRPr lang="de-DE" sz="700" dirty="0"/>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Comments</a:t>
                      </a:r>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191582">
                <a:tc>
                  <a:txBody>
                    <a:bodyPr/>
                    <a:lstStyle/>
                    <a:p>
                      <a:r>
                        <a:rPr lang="de-DE" sz="700" dirty="0"/>
                        <a:t>      Yes</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r>
                        <a:rPr lang="de-DE" sz="700" dirty="0"/>
                        <a:t>&lt;Insert </a:t>
                      </a:r>
                      <a:r>
                        <a:rPr lang="de-DE" sz="700" dirty="0" err="1"/>
                        <a:t>here</a:t>
                      </a:r>
                      <a:r>
                        <a:rPr lang="de-DE" sz="700" dirty="0"/>
                        <a:t> </a:t>
                      </a:r>
                      <a:r>
                        <a:rPr lang="de-DE" sz="700" dirty="0" err="1"/>
                        <a:t>important</a:t>
                      </a:r>
                      <a:r>
                        <a:rPr lang="de-DE" sz="700" dirty="0"/>
                        <a:t> </a:t>
                      </a:r>
                      <a:r>
                        <a:rPr lang="de-DE" sz="700" dirty="0" err="1"/>
                        <a:t>information</a:t>
                      </a:r>
                      <a:r>
                        <a:rPr lang="de-DE" sz="700" dirty="0"/>
                        <a:t> </a:t>
                      </a:r>
                      <a:r>
                        <a:rPr lang="de-DE" sz="700" dirty="0" err="1"/>
                        <a:t>depending</a:t>
                      </a:r>
                      <a:r>
                        <a:rPr lang="de-DE" sz="700" dirty="0"/>
                        <a:t> on </a:t>
                      </a:r>
                      <a:r>
                        <a:rPr lang="de-DE" sz="700" dirty="0" err="1"/>
                        <a:t>the</a:t>
                      </a:r>
                      <a:r>
                        <a:rPr lang="de-DE" sz="700" dirty="0"/>
                        <a:t> </a:t>
                      </a:r>
                      <a:r>
                        <a:rPr lang="de-DE" sz="700" dirty="0" err="1"/>
                        <a:t>ticked</a:t>
                      </a:r>
                      <a:r>
                        <a:rPr lang="de-DE" sz="700" dirty="0"/>
                        <a:t> </a:t>
                      </a:r>
                      <a:r>
                        <a:rPr lang="de-DE" sz="700" dirty="0" err="1"/>
                        <a:t>answer</a:t>
                      </a:r>
                      <a:r>
                        <a:rPr lang="de-DE" sz="700" dirty="0"/>
                        <a:t> on </a:t>
                      </a:r>
                      <a:r>
                        <a:rPr lang="de-DE" sz="700" dirty="0" err="1"/>
                        <a:t>the</a:t>
                      </a:r>
                      <a:r>
                        <a:rPr lang="de-DE" sz="700" dirty="0"/>
                        <a:t> </a:t>
                      </a:r>
                      <a:r>
                        <a:rPr lang="de-DE" sz="700" dirty="0" err="1"/>
                        <a:t>left</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r h="191582">
                <a:tc>
                  <a:txBody>
                    <a:bodyPr/>
                    <a:lstStyle/>
                    <a:p>
                      <a:r>
                        <a:rPr lang="de-DE" sz="700" dirty="0"/>
                        <a:t>      </a:t>
                      </a:r>
                      <a:r>
                        <a:rPr lang="de-DE" sz="700" dirty="0" err="1"/>
                        <a:t>No</a:t>
                      </a:r>
                      <a:r>
                        <a:rPr lang="de-DE" sz="700" dirty="0"/>
                        <a:t>, but </a:t>
                      </a:r>
                      <a:r>
                        <a:rPr lang="de-DE" sz="700" dirty="0" err="1"/>
                        <a:t>feasible</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de-DE" sz="8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70938148"/>
                  </a:ext>
                </a:extLst>
              </a:tr>
              <a:tr h="191582">
                <a:tc>
                  <a:txBody>
                    <a:bodyPr/>
                    <a:lstStyle/>
                    <a:p>
                      <a:r>
                        <a:rPr lang="de-DE" sz="700" dirty="0"/>
                        <a:t>      </a:t>
                      </a:r>
                      <a:r>
                        <a:rPr lang="de-DE" sz="700" dirty="0" err="1"/>
                        <a:t>No</a:t>
                      </a:r>
                      <a:r>
                        <a:rPr lang="de-DE" sz="700" dirty="0"/>
                        <a:t>, not </a:t>
                      </a:r>
                      <a:r>
                        <a:rPr lang="de-DE" sz="700" dirty="0" err="1"/>
                        <a:t>feasible</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de-DE" sz="8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1004332"/>
                  </a:ext>
                </a:extLst>
              </a:tr>
            </a:tbl>
          </a:graphicData>
        </a:graphic>
      </p:graphicFrame>
      <p:sp>
        <p:nvSpPr>
          <p:cNvPr id="35" name="Rechteck 15">
            <a:extLst>
              <a:ext uri="{FF2B5EF4-FFF2-40B4-BE49-F238E27FC236}">
                <a16:creationId xmlns:a16="http://schemas.microsoft.com/office/drawing/2014/main" id="{8C9E1859-4BD8-D44E-C913-826EF8563F55}"/>
              </a:ext>
            </a:extLst>
          </p:cNvPr>
          <p:cNvSpPr/>
          <p:nvPr/>
        </p:nvSpPr>
        <p:spPr>
          <a:xfrm>
            <a:off x="52978" y="163631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Rechteck 22">
            <a:extLst>
              <a:ext uri="{FF2B5EF4-FFF2-40B4-BE49-F238E27FC236}">
                <a16:creationId xmlns:a16="http://schemas.microsoft.com/office/drawing/2014/main" id="{7DE50B2F-AED8-C264-9825-3843250E3DA7}"/>
              </a:ext>
            </a:extLst>
          </p:cNvPr>
          <p:cNvSpPr/>
          <p:nvPr/>
        </p:nvSpPr>
        <p:spPr>
          <a:xfrm>
            <a:off x="52978" y="184322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7" name="Rechteck 23">
            <a:extLst>
              <a:ext uri="{FF2B5EF4-FFF2-40B4-BE49-F238E27FC236}">
                <a16:creationId xmlns:a16="http://schemas.microsoft.com/office/drawing/2014/main" id="{51C4D707-8356-1EA1-BBE6-E1A6D7AC00DD}"/>
              </a:ext>
            </a:extLst>
          </p:cNvPr>
          <p:cNvSpPr/>
          <p:nvPr/>
        </p:nvSpPr>
        <p:spPr>
          <a:xfrm>
            <a:off x="52978" y="2039818"/>
            <a:ext cx="108000" cy="10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graphicFrame>
        <p:nvGraphicFramePr>
          <p:cNvPr id="38" name="Tabelle 15">
            <a:extLst>
              <a:ext uri="{FF2B5EF4-FFF2-40B4-BE49-F238E27FC236}">
                <a16:creationId xmlns:a16="http://schemas.microsoft.com/office/drawing/2014/main" id="{3AF9DBD2-7F16-5816-2201-2EEA97A84BBF}"/>
              </a:ext>
            </a:extLst>
          </p:cNvPr>
          <p:cNvGraphicFramePr>
            <a:graphicFrameLocks noGrp="1"/>
          </p:cNvGraphicFramePr>
          <p:nvPr>
            <p:extLst>
              <p:ext uri="{D42A27DB-BD31-4B8C-83A1-F6EECF244321}">
                <p14:modId xmlns:p14="http://schemas.microsoft.com/office/powerpoint/2010/main" val="2091032171"/>
              </p:ext>
            </p:extLst>
          </p:nvPr>
        </p:nvGraphicFramePr>
        <p:xfrm>
          <a:off x="28672" y="2219707"/>
          <a:ext cx="5309517" cy="1407070"/>
        </p:xfrm>
        <a:graphic>
          <a:graphicData uri="http://schemas.openxmlformats.org/drawingml/2006/table">
            <a:tbl>
              <a:tblPr firstRow="1" bandRow="1">
                <a:tableStyleId>{2D5ABB26-0587-4C30-8999-92F81FD0307C}</a:tableStyleId>
              </a:tblPr>
              <a:tblGrid>
                <a:gridCol w="1363052">
                  <a:extLst>
                    <a:ext uri="{9D8B030D-6E8A-4147-A177-3AD203B41FA5}">
                      <a16:colId xmlns:a16="http://schemas.microsoft.com/office/drawing/2014/main" val="4270361833"/>
                    </a:ext>
                  </a:extLst>
                </a:gridCol>
                <a:gridCol w="3946465">
                  <a:extLst>
                    <a:ext uri="{9D8B030D-6E8A-4147-A177-3AD203B41FA5}">
                      <a16:colId xmlns:a16="http://schemas.microsoft.com/office/drawing/2014/main" val="2870146279"/>
                    </a:ext>
                  </a:extLst>
                </a:gridCol>
              </a:tblGrid>
              <a:tr h="208174">
                <a:tc gridSpan="2">
                  <a:txBody>
                    <a:bodyPr/>
                    <a:lstStyle/>
                    <a:p>
                      <a:pPr algn="ctr"/>
                      <a:r>
                        <a:rPr lang="de-DE" sz="800" b="1" dirty="0"/>
                        <a:t>Tool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193304">
                <a:tc>
                  <a:txBody>
                    <a:bodyPr/>
                    <a:lstStyle/>
                    <a:p>
                      <a:r>
                        <a:rPr lang="de-DE" sz="700" b="1" dirty="0" err="1"/>
                        <a:t>Toolname</a:t>
                      </a:r>
                      <a:endParaRPr lang="de-DE" sz="700" b="1" dirty="0"/>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Tool </a:t>
                      </a:r>
                      <a:r>
                        <a:rPr lang="de-DE" sz="700" b="1" dirty="0" err="1"/>
                        <a:t>Usage</a:t>
                      </a:r>
                      <a:endParaRPr lang="de-DE" sz="700" b="1" dirty="0"/>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203110">
                <a:tc>
                  <a:txBody>
                    <a:bodyPr/>
                    <a:lstStyle/>
                    <a:p>
                      <a:r>
                        <a:rPr lang="de-DE" sz="700" dirty="0"/>
                        <a:t>&lt;Tool X&gt;</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dirty="0"/>
                        <a:t>&lt;</a:t>
                      </a:r>
                      <a:r>
                        <a:rPr lang="de-DE" sz="700" dirty="0" err="1"/>
                        <a:t>For</a:t>
                      </a:r>
                      <a:r>
                        <a:rPr lang="de-DE" sz="700" dirty="0"/>
                        <a:t> </a:t>
                      </a:r>
                      <a:r>
                        <a:rPr lang="de-DE" sz="700" dirty="0" err="1"/>
                        <a:t>which</a:t>
                      </a:r>
                      <a:r>
                        <a:rPr lang="de-DE" sz="700" dirty="0"/>
                        <a:t> </a:t>
                      </a:r>
                      <a:r>
                        <a:rPr lang="de-DE" sz="700" dirty="0" err="1"/>
                        <a:t>activity</a:t>
                      </a:r>
                      <a:r>
                        <a:rPr lang="de-DE" sz="700" dirty="0"/>
                        <a:t> </a:t>
                      </a:r>
                      <a:r>
                        <a:rPr lang="de-DE" sz="700" dirty="0" err="1"/>
                        <a:t>is</a:t>
                      </a:r>
                      <a:r>
                        <a:rPr lang="de-DE" sz="700" dirty="0"/>
                        <a:t> </a:t>
                      </a:r>
                      <a:r>
                        <a:rPr lang="de-DE" sz="700" dirty="0" err="1"/>
                        <a:t>the</a:t>
                      </a:r>
                      <a:r>
                        <a:rPr lang="de-DE" sz="700" dirty="0"/>
                        <a:t> </a:t>
                      </a:r>
                      <a:r>
                        <a:rPr lang="de-DE" sz="700" dirty="0" err="1"/>
                        <a:t>tool</a:t>
                      </a:r>
                      <a:r>
                        <a:rPr lang="de-DE" sz="700" dirty="0"/>
                        <a:t> </a:t>
                      </a:r>
                      <a:r>
                        <a:rPr lang="de-DE" sz="700" dirty="0" err="1"/>
                        <a:t>used</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r h="193304">
                <a:tc>
                  <a:txBody>
                    <a:bodyPr/>
                    <a:lstStyle/>
                    <a:p>
                      <a:r>
                        <a:rPr lang="de-DE" sz="700" dirty="0"/>
                        <a:t>&lt;Tool Y&gt;</a:t>
                      </a:r>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700" dirty="0"/>
                        <a:t>&lt;</a:t>
                      </a:r>
                      <a:r>
                        <a:rPr lang="de-DE" sz="700" dirty="0" err="1"/>
                        <a:t>For</a:t>
                      </a:r>
                      <a:r>
                        <a:rPr lang="de-DE" sz="700" dirty="0"/>
                        <a:t> </a:t>
                      </a:r>
                      <a:r>
                        <a:rPr lang="de-DE" sz="700" dirty="0" err="1"/>
                        <a:t>which</a:t>
                      </a:r>
                      <a:r>
                        <a:rPr lang="de-DE" sz="700" dirty="0"/>
                        <a:t> </a:t>
                      </a:r>
                      <a:r>
                        <a:rPr lang="de-DE" sz="700" dirty="0" err="1"/>
                        <a:t>activity</a:t>
                      </a:r>
                      <a:r>
                        <a:rPr lang="de-DE" sz="700" dirty="0"/>
                        <a:t> </a:t>
                      </a:r>
                      <a:r>
                        <a:rPr lang="de-DE" sz="700" dirty="0" err="1"/>
                        <a:t>is</a:t>
                      </a:r>
                      <a:r>
                        <a:rPr lang="de-DE" sz="700" dirty="0"/>
                        <a:t> </a:t>
                      </a:r>
                      <a:r>
                        <a:rPr lang="de-DE" sz="700" dirty="0" err="1"/>
                        <a:t>the</a:t>
                      </a:r>
                      <a:r>
                        <a:rPr lang="de-DE" sz="700" dirty="0"/>
                        <a:t> </a:t>
                      </a:r>
                      <a:r>
                        <a:rPr lang="de-DE" sz="700" dirty="0" err="1"/>
                        <a:t>tool</a:t>
                      </a:r>
                      <a:r>
                        <a:rPr lang="de-DE" sz="700" dirty="0"/>
                        <a:t> </a:t>
                      </a:r>
                      <a:r>
                        <a:rPr lang="de-DE" sz="700" dirty="0" err="1"/>
                        <a:t>used</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0938148"/>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1004332"/>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844404"/>
                  </a:ext>
                </a:extLst>
              </a:tr>
              <a:tr h="193304">
                <a:tc>
                  <a:txBody>
                    <a:bodyPr/>
                    <a:lstStyle/>
                    <a:p>
                      <a:endParaRPr lang="de-DE" sz="700" dirty="0"/>
                    </a:p>
                  </a:txBody>
                  <a:tcPr anchor="ct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e-DE" sz="700" dirty="0"/>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89128928"/>
                  </a:ext>
                </a:extLst>
              </a:tr>
            </a:tbl>
          </a:graphicData>
        </a:graphic>
      </p:graphicFrame>
      <p:graphicFrame>
        <p:nvGraphicFramePr>
          <p:cNvPr id="39" name="Tabelle 15">
            <a:extLst>
              <a:ext uri="{FF2B5EF4-FFF2-40B4-BE49-F238E27FC236}">
                <a16:creationId xmlns:a16="http://schemas.microsoft.com/office/drawing/2014/main" id="{D119C01E-EB69-EE6C-597E-C568F224A04C}"/>
              </a:ext>
            </a:extLst>
          </p:cNvPr>
          <p:cNvGraphicFramePr>
            <a:graphicFrameLocks noGrp="1"/>
          </p:cNvGraphicFramePr>
          <p:nvPr>
            <p:extLst>
              <p:ext uri="{D42A27DB-BD31-4B8C-83A1-F6EECF244321}">
                <p14:modId xmlns:p14="http://schemas.microsoft.com/office/powerpoint/2010/main" val="1308798451"/>
              </p:ext>
            </p:extLst>
          </p:nvPr>
        </p:nvGraphicFramePr>
        <p:xfrm>
          <a:off x="28672" y="3647471"/>
          <a:ext cx="5309527" cy="1214435"/>
        </p:xfrm>
        <a:graphic>
          <a:graphicData uri="http://schemas.openxmlformats.org/drawingml/2006/table">
            <a:tbl>
              <a:tblPr firstRow="1" bandRow="1">
                <a:tableStyleId>{2D5ABB26-0587-4C30-8999-92F81FD0307C}</a:tableStyleId>
              </a:tblPr>
              <a:tblGrid>
                <a:gridCol w="1896880">
                  <a:extLst>
                    <a:ext uri="{9D8B030D-6E8A-4147-A177-3AD203B41FA5}">
                      <a16:colId xmlns:a16="http://schemas.microsoft.com/office/drawing/2014/main" val="4270361833"/>
                    </a:ext>
                  </a:extLst>
                </a:gridCol>
                <a:gridCol w="3412647">
                  <a:extLst>
                    <a:ext uri="{9D8B030D-6E8A-4147-A177-3AD203B41FA5}">
                      <a16:colId xmlns:a16="http://schemas.microsoft.com/office/drawing/2014/main" val="2870146279"/>
                    </a:ext>
                  </a:extLst>
                </a:gridCol>
              </a:tblGrid>
              <a:tr h="219632">
                <a:tc gridSpan="2">
                  <a:txBody>
                    <a:bodyPr/>
                    <a:lstStyle/>
                    <a:p>
                      <a:pPr algn="ctr"/>
                      <a:r>
                        <a:rPr lang="de-DE" sz="800" b="1" dirty="0"/>
                        <a:t>Virtual Model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de-D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608031"/>
                  </a:ext>
                </a:extLst>
              </a:tr>
              <a:tr h="202406">
                <a:tc>
                  <a:txBody>
                    <a:bodyPr/>
                    <a:lstStyle/>
                    <a:p>
                      <a:r>
                        <a:rPr lang="de-DE" sz="700" b="1" dirty="0" err="1"/>
                        <a:t>Needed</a:t>
                      </a:r>
                      <a:r>
                        <a:rPr lang="de-DE" sz="700" b="1" dirty="0"/>
                        <a:t> Parameters</a:t>
                      </a:r>
                    </a:p>
                  </a:txBody>
                  <a:tcPr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b="1" dirty="0"/>
                        <a:t>Virtual Model Properties</a:t>
                      </a:r>
                    </a:p>
                  </a:txBody>
                  <a:tcPr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2888763"/>
                  </a:ext>
                </a:extLst>
              </a:tr>
              <a:tr h="792397">
                <a:tc>
                  <a:txBody>
                    <a:bodyPr/>
                    <a:lstStyle/>
                    <a:p>
                      <a:r>
                        <a:rPr lang="de-DE" sz="700" dirty="0"/>
                        <a:t>&lt;Note all Input </a:t>
                      </a:r>
                      <a:r>
                        <a:rPr lang="de-DE" sz="700" dirty="0" err="1"/>
                        <a:t>parameters</a:t>
                      </a:r>
                      <a:r>
                        <a:rPr lang="de-DE" sz="700" dirty="0"/>
                        <a:t> </a:t>
                      </a:r>
                      <a:r>
                        <a:rPr lang="de-DE" sz="700" dirty="0" err="1"/>
                        <a:t>for</a:t>
                      </a:r>
                      <a:r>
                        <a:rPr lang="de-DE" sz="700" dirty="0"/>
                        <a:t> </a:t>
                      </a:r>
                      <a:r>
                        <a:rPr lang="de-DE" sz="700" dirty="0" err="1"/>
                        <a:t>the</a:t>
                      </a:r>
                      <a:r>
                        <a:rPr lang="de-DE" sz="700" dirty="0"/>
                        <a:t> </a:t>
                      </a:r>
                      <a:r>
                        <a:rPr lang="de-DE" sz="700" dirty="0" err="1"/>
                        <a:t>model</a:t>
                      </a:r>
                      <a:r>
                        <a:rPr lang="de-DE" sz="700" dirty="0"/>
                        <a:t> </a:t>
                      </a:r>
                      <a:r>
                        <a:rPr lang="de-DE" sz="700" dirty="0" err="1"/>
                        <a:t>as</a:t>
                      </a:r>
                      <a:r>
                        <a:rPr lang="de-DE" sz="700" dirty="0"/>
                        <a:t> </a:t>
                      </a:r>
                      <a:r>
                        <a:rPr lang="de-DE" sz="700" dirty="0" err="1"/>
                        <a:t>detailed</a:t>
                      </a:r>
                      <a:r>
                        <a:rPr lang="de-DE" sz="700" dirty="0"/>
                        <a:t> </a:t>
                      </a:r>
                      <a:r>
                        <a:rPr lang="de-DE" sz="700" dirty="0" err="1"/>
                        <a:t>as</a:t>
                      </a:r>
                      <a:r>
                        <a:rPr lang="de-DE" sz="700" dirty="0"/>
                        <a:t> possible&gt;</a:t>
                      </a:r>
                    </a:p>
                  </a:txBody>
                  <a:tcPr>
                    <a:lnL w="12700" cap="flat" cmpd="sng" algn="ctr">
                      <a:solidFill>
                        <a:schemeClr val="tx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de-DE" sz="700" dirty="0"/>
                        <a:t>&lt;</a:t>
                      </a:r>
                      <a:r>
                        <a:rPr lang="de-DE" sz="700" dirty="0" err="1"/>
                        <a:t>Which</a:t>
                      </a:r>
                      <a:r>
                        <a:rPr lang="de-DE" sz="700" dirty="0"/>
                        <a:t> </a:t>
                      </a:r>
                      <a:r>
                        <a:rPr lang="de-DE" sz="700" dirty="0" err="1"/>
                        <a:t>properties</a:t>
                      </a:r>
                      <a:r>
                        <a:rPr lang="de-DE" sz="700" dirty="0"/>
                        <a:t> </a:t>
                      </a:r>
                      <a:r>
                        <a:rPr lang="de-DE" sz="700" dirty="0" err="1"/>
                        <a:t>does</a:t>
                      </a:r>
                      <a:r>
                        <a:rPr lang="de-DE" sz="700" dirty="0"/>
                        <a:t>/</a:t>
                      </a:r>
                      <a:r>
                        <a:rPr lang="de-DE" sz="700" dirty="0" err="1"/>
                        <a:t>should</a:t>
                      </a:r>
                      <a:r>
                        <a:rPr lang="de-DE" sz="700" dirty="0"/>
                        <a:t> </a:t>
                      </a:r>
                      <a:r>
                        <a:rPr lang="de-DE" sz="700" dirty="0" err="1"/>
                        <a:t>the</a:t>
                      </a:r>
                      <a:r>
                        <a:rPr lang="de-DE" sz="700" dirty="0"/>
                        <a:t> virtual </a:t>
                      </a:r>
                      <a:r>
                        <a:rPr lang="de-DE" sz="700" dirty="0" err="1"/>
                        <a:t>model</a:t>
                      </a:r>
                      <a:r>
                        <a:rPr lang="de-DE" sz="700" dirty="0"/>
                        <a:t> </a:t>
                      </a:r>
                      <a:r>
                        <a:rPr lang="de-DE" sz="700" dirty="0" err="1"/>
                        <a:t>have</a:t>
                      </a:r>
                      <a:r>
                        <a:rPr lang="de-DE" sz="700" dirty="0"/>
                        <a:t>? </a:t>
                      </a:r>
                      <a:r>
                        <a:rPr lang="de-DE" sz="700" dirty="0" err="1"/>
                        <a:t>What</a:t>
                      </a:r>
                      <a:r>
                        <a:rPr lang="de-DE" sz="700" dirty="0"/>
                        <a:t> </a:t>
                      </a:r>
                      <a:r>
                        <a:rPr lang="de-DE" sz="700" dirty="0" err="1"/>
                        <a:t>does</a:t>
                      </a:r>
                      <a:r>
                        <a:rPr lang="de-DE" sz="700" dirty="0"/>
                        <a:t>/</a:t>
                      </a:r>
                      <a:r>
                        <a:rPr lang="de-DE" sz="700" dirty="0" err="1"/>
                        <a:t>should</a:t>
                      </a:r>
                      <a:r>
                        <a:rPr lang="de-DE" sz="700" dirty="0"/>
                        <a:t> </a:t>
                      </a:r>
                      <a:r>
                        <a:rPr lang="de-DE" sz="700" dirty="0" err="1"/>
                        <a:t>the</a:t>
                      </a:r>
                      <a:r>
                        <a:rPr lang="de-DE" sz="700" dirty="0"/>
                        <a:t> virtual </a:t>
                      </a:r>
                      <a:r>
                        <a:rPr lang="de-DE" sz="700" dirty="0" err="1"/>
                        <a:t>model</a:t>
                      </a:r>
                      <a:r>
                        <a:rPr lang="de-DE" sz="700" dirty="0"/>
                        <a:t> </a:t>
                      </a:r>
                      <a:r>
                        <a:rPr lang="de-DE" sz="700" dirty="0" err="1"/>
                        <a:t>achieve</a:t>
                      </a:r>
                      <a:r>
                        <a:rPr lang="de-DE" sz="700" dirty="0"/>
                        <a:t>?&gt;</a:t>
                      </a:r>
                    </a:p>
                  </a:txBody>
                  <a:tcP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9007220"/>
                  </a:ext>
                </a:extLst>
              </a:tr>
            </a:tbl>
          </a:graphicData>
        </a:graphic>
      </p:graphicFrame>
      <p:sp>
        <p:nvSpPr>
          <p:cNvPr id="40" name="Rechteck: abgerundete Ecken 28">
            <a:extLst>
              <a:ext uri="{FF2B5EF4-FFF2-40B4-BE49-F238E27FC236}">
                <a16:creationId xmlns:a16="http://schemas.microsoft.com/office/drawing/2014/main" id="{0BDE0B05-D10E-1750-450B-320C625C736D}"/>
              </a:ext>
            </a:extLst>
          </p:cNvPr>
          <p:cNvSpPr/>
          <p:nvPr/>
        </p:nvSpPr>
        <p:spPr>
          <a:xfrm>
            <a:off x="5357903" y="429483"/>
            <a:ext cx="3754732" cy="3190880"/>
          </a:xfrm>
          <a:prstGeom prst="roundRect">
            <a:avLst>
              <a:gd name="adj" fmla="val 1241"/>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a:solidFill>
                  <a:schemeClr val="tx1"/>
                </a:solidFill>
              </a:rPr>
              <a:t>Picture</a:t>
            </a:r>
            <a:endParaRPr lang="de-DE" sz="800" dirty="0">
              <a:solidFill>
                <a:schemeClr val="tx1"/>
              </a:solidFill>
            </a:endParaRPr>
          </a:p>
        </p:txBody>
      </p:sp>
      <p:sp>
        <p:nvSpPr>
          <p:cNvPr id="41" name="Rechteck: abgerundete Ecken 30">
            <a:extLst>
              <a:ext uri="{FF2B5EF4-FFF2-40B4-BE49-F238E27FC236}">
                <a16:creationId xmlns:a16="http://schemas.microsoft.com/office/drawing/2014/main" id="{E0FE2B2A-FA17-4719-0D5B-A5F46C64FEB1}"/>
              </a:ext>
            </a:extLst>
          </p:cNvPr>
          <p:cNvSpPr/>
          <p:nvPr/>
        </p:nvSpPr>
        <p:spPr>
          <a:xfrm>
            <a:off x="5358101" y="3636299"/>
            <a:ext cx="3754732" cy="1223220"/>
          </a:xfrm>
          <a:prstGeom prst="roundRect">
            <a:avLst>
              <a:gd name="adj" fmla="val 3237"/>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pPr>
            <a:r>
              <a:rPr lang="de-DE" sz="1000" b="1" dirty="0" err="1">
                <a:solidFill>
                  <a:schemeClr val="tx1"/>
                </a:solidFill>
              </a:rPr>
              <a:t>Effort</a:t>
            </a:r>
            <a:r>
              <a:rPr lang="de-DE" sz="1000" b="1" dirty="0">
                <a:solidFill>
                  <a:schemeClr val="tx1"/>
                </a:solidFill>
              </a:rPr>
              <a:t> </a:t>
            </a:r>
            <a:r>
              <a:rPr lang="de-DE" sz="1000" b="1" dirty="0" err="1">
                <a:solidFill>
                  <a:schemeClr val="tx1"/>
                </a:solidFill>
              </a:rPr>
              <a:t>of</a:t>
            </a:r>
            <a:r>
              <a:rPr lang="de-DE" sz="1000" b="1" dirty="0">
                <a:solidFill>
                  <a:schemeClr val="tx1"/>
                </a:solidFill>
              </a:rPr>
              <a:t> </a:t>
            </a:r>
            <a:r>
              <a:rPr lang="de-DE" sz="1000" b="1" dirty="0" err="1">
                <a:solidFill>
                  <a:schemeClr val="tx1"/>
                </a:solidFill>
              </a:rPr>
              <a:t>the</a:t>
            </a:r>
            <a:r>
              <a:rPr lang="de-DE" sz="1000" b="1" dirty="0">
                <a:solidFill>
                  <a:schemeClr val="tx1"/>
                </a:solidFill>
              </a:rPr>
              <a:t> Simulation </a:t>
            </a:r>
            <a:r>
              <a:rPr lang="de-DE" sz="1000" dirty="0">
                <a:solidFill>
                  <a:schemeClr val="tx1"/>
                </a:solidFill>
              </a:rPr>
              <a:t>(</a:t>
            </a:r>
            <a:r>
              <a:rPr lang="de-DE" sz="1000" dirty="0" err="1">
                <a:solidFill>
                  <a:schemeClr val="tx1"/>
                </a:solidFill>
              </a:rPr>
              <a:t>Complexity</a:t>
            </a:r>
            <a:r>
              <a:rPr lang="de-DE" sz="1000" dirty="0">
                <a:solidFill>
                  <a:schemeClr val="tx1"/>
                </a:solidFill>
              </a:rPr>
              <a:t> </a:t>
            </a:r>
            <a:r>
              <a:rPr lang="de-DE" sz="1000" dirty="0" err="1">
                <a:solidFill>
                  <a:schemeClr val="tx1"/>
                </a:solidFill>
              </a:rPr>
              <a:t>of</a:t>
            </a:r>
            <a:r>
              <a:rPr lang="de-DE" sz="1000" dirty="0">
                <a:solidFill>
                  <a:schemeClr val="tx1"/>
                </a:solidFill>
              </a:rPr>
              <a:t> </a:t>
            </a:r>
            <a:r>
              <a:rPr lang="de-DE" sz="1000" dirty="0" err="1">
                <a:solidFill>
                  <a:schemeClr val="tx1"/>
                </a:solidFill>
              </a:rPr>
              <a:t>the</a:t>
            </a:r>
            <a:r>
              <a:rPr lang="de-DE" sz="1000" dirty="0">
                <a:solidFill>
                  <a:schemeClr val="tx1"/>
                </a:solidFill>
              </a:rPr>
              <a:t> virtual </a:t>
            </a:r>
            <a:r>
              <a:rPr lang="de-DE" sz="1000" dirty="0" err="1">
                <a:solidFill>
                  <a:schemeClr val="tx1"/>
                </a:solidFill>
              </a:rPr>
              <a:t>modelling</a:t>
            </a:r>
            <a:r>
              <a:rPr lang="de-DE" sz="1000" dirty="0">
                <a:solidFill>
                  <a:schemeClr val="tx1"/>
                </a:solidFill>
              </a:rPr>
              <a:t>)</a:t>
            </a:r>
            <a:endParaRPr lang="de-DE" sz="800" dirty="0">
              <a:solidFill>
                <a:schemeClr val="tx1"/>
              </a:solidFill>
            </a:endParaRPr>
          </a:p>
        </p:txBody>
      </p:sp>
      <p:grpSp>
        <p:nvGrpSpPr>
          <p:cNvPr id="42" name="Gruppieren 31">
            <a:extLst>
              <a:ext uri="{FF2B5EF4-FFF2-40B4-BE49-F238E27FC236}">
                <a16:creationId xmlns:a16="http://schemas.microsoft.com/office/drawing/2014/main" id="{D7C830DF-6676-8E48-5DFB-29BCDB55C6B3}"/>
              </a:ext>
            </a:extLst>
          </p:cNvPr>
          <p:cNvGrpSpPr/>
          <p:nvPr/>
        </p:nvGrpSpPr>
        <p:grpSpPr>
          <a:xfrm>
            <a:off x="5961203" y="4160578"/>
            <a:ext cx="2548132" cy="396279"/>
            <a:chOff x="6484574" y="4292597"/>
            <a:chExt cx="861041" cy="108002"/>
          </a:xfrm>
        </p:grpSpPr>
        <p:sp>
          <p:nvSpPr>
            <p:cNvPr id="43" name="Rechteck 32">
              <a:extLst>
                <a:ext uri="{FF2B5EF4-FFF2-40B4-BE49-F238E27FC236}">
                  <a16:creationId xmlns:a16="http://schemas.microsoft.com/office/drawing/2014/main" id="{4CC00D06-9B6D-A3E5-9129-095F64472A25}"/>
                </a:ext>
              </a:extLst>
            </p:cNvPr>
            <p:cNvSpPr/>
            <p:nvPr/>
          </p:nvSpPr>
          <p:spPr>
            <a:xfrm>
              <a:off x="6484574" y="4292597"/>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1</a:t>
              </a:r>
            </a:p>
          </p:txBody>
        </p:sp>
        <p:sp>
          <p:nvSpPr>
            <p:cNvPr id="44" name="Rechteck 33">
              <a:extLst>
                <a:ext uri="{FF2B5EF4-FFF2-40B4-BE49-F238E27FC236}">
                  <a16:creationId xmlns:a16="http://schemas.microsoft.com/office/drawing/2014/main" id="{458B8796-07FA-48EB-9AE1-70F9157493C5}"/>
                </a:ext>
              </a:extLst>
            </p:cNvPr>
            <p:cNvSpPr/>
            <p:nvPr/>
          </p:nvSpPr>
          <p:spPr>
            <a:xfrm>
              <a:off x="666383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2</a:t>
              </a:r>
            </a:p>
          </p:txBody>
        </p:sp>
        <p:sp>
          <p:nvSpPr>
            <p:cNvPr id="45" name="Rechteck 34">
              <a:extLst>
                <a:ext uri="{FF2B5EF4-FFF2-40B4-BE49-F238E27FC236}">
                  <a16:creationId xmlns:a16="http://schemas.microsoft.com/office/drawing/2014/main" id="{4C320837-9E4D-C23D-32E7-6B62DA2D074C}"/>
                </a:ext>
              </a:extLst>
            </p:cNvPr>
            <p:cNvSpPr/>
            <p:nvPr/>
          </p:nvSpPr>
          <p:spPr>
            <a:xfrm>
              <a:off x="684309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3</a:t>
              </a:r>
            </a:p>
          </p:txBody>
        </p:sp>
        <p:sp>
          <p:nvSpPr>
            <p:cNvPr id="46" name="Rechteck 35">
              <a:extLst>
                <a:ext uri="{FF2B5EF4-FFF2-40B4-BE49-F238E27FC236}">
                  <a16:creationId xmlns:a16="http://schemas.microsoft.com/office/drawing/2014/main" id="{D5AECAE5-B95B-2234-5DEC-C3D3F1FC4CCB}"/>
                </a:ext>
              </a:extLst>
            </p:cNvPr>
            <p:cNvSpPr/>
            <p:nvPr/>
          </p:nvSpPr>
          <p:spPr>
            <a:xfrm>
              <a:off x="7022354" y="4292599"/>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4</a:t>
              </a:r>
            </a:p>
          </p:txBody>
        </p:sp>
        <p:sp>
          <p:nvSpPr>
            <p:cNvPr id="47" name="Rechteck 36">
              <a:extLst>
                <a:ext uri="{FF2B5EF4-FFF2-40B4-BE49-F238E27FC236}">
                  <a16:creationId xmlns:a16="http://schemas.microsoft.com/office/drawing/2014/main" id="{00A9DC6E-98E3-1308-8EF1-AEA3CA97025B}"/>
                </a:ext>
              </a:extLst>
            </p:cNvPr>
            <p:cNvSpPr/>
            <p:nvPr/>
          </p:nvSpPr>
          <p:spPr>
            <a:xfrm>
              <a:off x="7201615" y="4292597"/>
              <a:ext cx="144000" cy="108000"/>
            </a:xfrm>
            <a:prstGeom prst="rect">
              <a:avLst/>
            </a:prstGeom>
            <a:solidFill>
              <a:srgbClr val="9B9C9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200" dirty="0">
                  <a:solidFill>
                    <a:schemeClr val="tx1"/>
                  </a:solidFill>
                </a:rPr>
                <a:t>5</a:t>
              </a:r>
            </a:p>
          </p:txBody>
        </p:sp>
      </p:grpSp>
      <p:sp>
        <p:nvSpPr>
          <p:cNvPr id="48" name="Rechteck 20">
            <a:extLst>
              <a:ext uri="{FF2B5EF4-FFF2-40B4-BE49-F238E27FC236}">
                <a16:creationId xmlns:a16="http://schemas.microsoft.com/office/drawing/2014/main" id="{51EDFDFB-E0F2-0D88-C918-851C5256DD4F}"/>
              </a:ext>
            </a:extLst>
          </p:cNvPr>
          <p:cNvSpPr/>
          <p:nvPr/>
        </p:nvSpPr>
        <p:spPr>
          <a:xfrm>
            <a:off x="6449183" y="4103641"/>
            <a:ext cx="504000" cy="50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49" name="Textfeld 21">
            <a:extLst>
              <a:ext uri="{FF2B5EF4-FFF2-40B4-BE49-F238E27FC236}">
                <a16:creationId xmlns:a16="http://schemas.microsoft.com/office/drawing/2014/main" id="{1871D2D1-5147-A251-6542-862388323E37}"/>
              </a:ext>
            </a:extLst>
          </p:cNvPr>
          <p:cNvSpPr txBox="1"/>
          <p:nvPr/>
        </p:nvSpPr>
        <p:spPr>
          <a:xfrm>
            <a:off x="5477126" y="4283313"/>
            <a:ext cx="442429" cy="144655"/>
          </a:xfrm>
          <a:prstGeom prst="rect">
            <a:avLst/>
          </a:prstGeom>
          <a:solidFill>
            <a:schemeClr val="bg1">
              <a:lumMod val="85000"/>
            </a:schemeClr>
          </a:solidFill>
        </p:spPr>
        <p:txBody>
          <a:bodyPr wrap="none" lIns="0" tIns="0" rIns="0" bIns="0" rtlCol="0">
            <a:spAutoFit/>
          </a:bodyPr>
          <a:lstStyle/>
          <a:p>
            <a:pPr>
              <a:lnSpc>
                <a:spcPct val="114000"/>
              </a:lnSpc>
            </a:pPr>
            <a:r>
              <a:rPr lang="de-DE" sz="900" dirty="0">
                <a:latin typeface="+mn-lt"/>
              </a:rPr>
              <a:t>Very </a:t>
            </a:r>
            <a:r>
              <a:rPr lang="de-DE" sz="900" dirty="0" err="1">
                <a:latin typeface="+mn-lt"/>
              </a:rPr>
              <a:t>low</a:t>
            </a:r>
            <a:endParaRPr lang="de-DE" sz="900" dirty="0">
              <a:latin typeface="+mn-lt"/>
            </a:endParaRPr>
          </a:p>
        </p:txBody>
      </p:sp>
      <p:sp>
        <p:nvSpPr>
          <p:cNvPr id="50" name="Textfeld 40">
            <a:extLst>
              <a:ext uri="{FF2B5EF4-FFF2-40B4-BE49-F238E27FC236}">
                <a16:creationId xmlns:a16="http://schemas.microsoft.com/office/drawing/2014/main" id="{0DF7639C-B03F-63FD-7070-1E2A764AA4F2}"/>
              </a:ext>
            </a:extLst>
          </p:cNvPr>
          <p:cNvSpPr txBox="1"/>
          <p:nvPr/>
        </p:nvSpPr>
        <p:spPr>
          <a:xfrm>
            <a:off x="8540441" y="4284422"/>
            <a:ext cx="487313" cy="144655"/>
          </a:xfrm>
          <a:prstGeom prst="rect">
            <a:avLst/>
          </a:prstGeom>
          <a:solidFill>
            <a:schemeClr val="bg1">
              <a:lumMod val="85000"/>
            </a:schemeClr>
          </a:solidFill>
        </p:spPr>
        <p:txBody>
          <a:bodyPr wrap="none" lIns="0" tIns="0" rIns="0" bIns="0" rtlCol="0">
            <a:spAutoFit/>
          </a:bodyPr>
          <a:lstStyle/>
          <a:p>
            <a:pPr>
              <a:lnSpc>
                <a:spcPct val="114000"/>
              </a:lnSpc>
            </a:pPr>
            <a:r>
              <a:rPr lang="de-DE" sz="900" dirty="0">
                <a:latin typeface="+mn-lt"/>
              </a:rPr>
              <a:t>Very high</a:t>
            </a:r>
          </a:p>
        </p:txBody>
      </p:sp>
    </p:spTree>
    <p:extLst>
      <p:ext uri="{BB962C8B-B14F-4D97-AF65-F5344CB8AC3E}">
        <p14:creationId xmlns:p14="http://schemas.microsoft.com/office/powerpoint/2010/main" val="1151920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F7C89432-F2BF-4117-A80A-DFCBE1DC0A1B}"/>
              </a:ext>
            </a:extLst>
          </p:cNvPr>
          <p:cNvPicPr>
            <a:picLocks noGrp="1" noRot="1" noChangeAspect="1" noMove="1" noResize="1" noEditPoints="1" noAdjustHandles="1" noChangeArrowheads="1" noChangeShapeType="1" noCrop="1"/>
          </p:cNvPicPr>
          <p:nvPr/>
        </p:nvPicPr>
        <p:blipFill>
          <a:blip r:embed="rId2"/>
          <a:stretch>
            <a:fillRect/>
          </a:stretch>
        </p:blipFill>
        <p:spPr>
          <a:xfrm>
            <a:off x="367470" y="2470745"/>
            <a:ext cx="937585" cy="964605"/>
          </a:xfrm>
          <a:prstGeom prst="rect">
            <a:avLst/>
          </a:prstGeom>
        </p:spPr>
      </p:pic>
      <p:grpSp>
        <p:nvGrpSpPr>
          <p:cNvPr id="13" name="Gruppieren 12">
            <a:extLst>
              <a:ext uri="{FF2B5EF4-FFF2-40B4-BE49-F238E27FC236}">
                <a16:creationId xmlns:a16="http://schemas.microsoft.com/office/drawing/2014/main" id="{0FF6A37E-0618-466F-BF74-1BF34EBB705D}"/>
              </a:ext>
            </a:extLst>
          </p:cNvPr>
          <p:cNvGrpSpPr>
            <a:grpSpLocks noGrp="1" noUngrp="1" noRot="1" noMove="1" noResize="1"/>
          </p:cNvGrpSpPr>
          <p:nvPr/>
        </p:nvGrpSpPr>
        <p:grpSpPr>
          <a:xfrm>
            <a:off x="1257987" y="2331773"/>
            <a:ext cx="3535886" cy="1242549"/>
            <a:chOff x="1305055" y="2286986"/>
            <a:chExt cx="3535886" cy="1242549"/>
          </a:xfrm>
        </p:grpSpPr>
        <p:grpSp>
          <p:nvGrpSpPr>
            <p:cNvPr id="14" name="Gruppieren 13">
              <a:extLst>
                <a:ext uri="{FF2B5EF4-FFF2-40B4-BE49-F238E27FC236}">
                  <a16:creationId xmlns:a16="http://schemas.microsoft.com/office/drawing/2014/main" id="{150FEE01-818C-4B89-BA4D-1B0DBCD29236}"/>
                </a:ext>
              </a:extLst>
            </p:cNvPr>
            <p:cNvGrpSpPr>
              <a:grpSpLocks noGrp="1" noUngrp="1" noRot="1" noMove="1" noResize="1"/>
            </p:cNvGrpSpPr>
            <p:nvPr/>
          </p:nvGrpSpPr>
          <p:grpSpPr>
            <a:xfrm>
              <a:off x="1305055" y="2286986"/>
              <a:ext cx="3535886" cy="1234199"/>
              <a:chOff x="1305055" y="2503917"/>
              <a:chExt cx="3535886" cy="1234199"/>
            </a:xfrm>
          </p:grpSpPr>
          <p:sp>
            <p:nvSpPr>
              <p:cNvPr id="16" name="Textfeld 15">
                <a:extLst>
                  <a:ext uri="{FF2B5EF4-FFF2-40B4-BE49-F238E27FC236}">
                    <a16:creationId xmlns:a16="http://schemas.microsoft.com/office/drawing/2014/main" id="{FF4FDC95-67FE-4ADD-B9ED-8FF75BB42203}"/>
                  </a:ext>
                </a:extLst>
              </p:cNvPr>
              <p:cNvSpPr txBox="1">
                <a:spLocks noGrp="1" noRot="1" noMove="1" noResize="1" noEditPoints="1" noAdjustHandles="1" noChangeArrowheads="1" noChangeShapeType="1"/>
              </p:cNvSpPr>
              <p:nvPr/>
            </p:nvSpPr>
            <p:spPr>
              <a:xfrm>
                <a:off x="1305055" y="2545482"/>
                <a:ext cx="3535886" cy="1192634"/>
              </a:xfrm>
              <a:prstGeom prst="rect">
                <a:avLst/>
              </a:prstGeom>
              <a:noFill/>
            </p:spPr>
            <p:txBody>
              <a:bodyPr wrap="square" lIns="0" tIns="0" rIns="0" bIns="0" rtlCol="0">
                <a:spAutoFit/>
              </a:bodyPr>
              <a:lstStyle/>
              <a:p>
                <a:pPr marL="457200" marR="0" lvl="1" indent="0" algn="l" defTabSz="914400" rtl="0" eaLnBrk="1" fontAlgn="base" latinLnBrk="0" hangingPunct="1">
                  <a:lnSpc>
                    <a:spcPct val="114000"/>
                  </a:lnSpc>
                  <a:spcBef>
                    <a:spcPct val="0"/>
                  </a:spcBef>
                  <a:spcAft>
                    <a:spcPts val="60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Arial" charset="0"/>
                  </a:rPr>
                  <a:t>Jakob Trauer, M.Sc.</a:t>
                </a:r>
              </a:p>
              <a:p>
                <a:pPr marL="457200" marR="0" lvl="1" indent="0" algn="l" defTabSz="914400" rtl="0" eaLnBrk="1" fontAlgn="base" latinLnBrk="0" hangingPunct="1">
                  <a:lnSpc>
                    <a:spcPct val="114000"/>
                  </a:lnSpc>
                  <a:spcBef>
                    <a:spcPct val="0"/>
                  </a:spcBef>
                  <a:spcAft>
                    <a:spcPts val="60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Arial" charset="0"/>
                    <a:hlinkClick r:id="rId3">
                      <a:extLst>
                        <a:ext uri="{A12FA001-AC4F-418D-AE19-62706E023703}">
                          <ahyp:hlinkClr xmlns:ahyp="http://schemas.microsoft.com/office/drawing/2018/hyperlinkcolor" val="tx"/>
                        </a:ext>
                      </a:extLst>
                    </a:hlinkClick>
                  </a:rPr>
                  <a:t>jakob.trauer@tum.de</a:t>
                </a:r>
                <a:endParaRPr kumimoji="0" lang="de-DE" sz="1400" b="0" i="0" u="none" strike="noStrike" kern="1200" cap="none" spc="0" normalizeH="0" baseline="0" noProof="0" dirty="0">
                  <a:ln>
                    <a:noFill/>
                  </a:ln>
                  <a:solidFill>
                    <a:prstClr val="white"/>
                  </a:solidFill>
                  <a:effectLst/>
                  <a:uLnTx/>
                  <a:uFillTx/>
                  <a:latin typeface="Arial"/>
                  <a:ea typeface="+mn-ea"/>
                  <a:cs typeface="Arial" charset="0"/>
                </a:endParaRPr>
              </a:p>
              <a:p>
                <a:pPr marL="457200" marR="0" lvl="1" indent="0" algn="l" defTabSz="914400" rtl="0" eaLnBrk="1" fontAlgn="base" latinLnBrk="0" hangingPunct="1">
                  <a:lnSpc>
                    <a:spcPct val="114000"/>
                  </a:lnSpc>
                  <a:spcBef>
                    <a:spcPct val="0"/>
                  </a:spcBef>
                  <a:spcAft>
                    <a:spcPts val="60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Arial" charset="0"/>
                  </a:rPr>
                  <a:t>+49 89 289 16175</a:t>
                </a:r>
              </a:p>
              <a:p>
                <a:pPr marL="457200" marR="0" lvl="1" indent="0" algn="l" defTabSz="914400" rtl="0" eaLnBrk="1" fontAlgn="base" latinLnBrk="0" hangingPunct="1">
                  <a:lnSpc>
                    <a:spcPct val="114000"/>
                  </a:lnSpc>
                  <a:spcBef>
                    <a:spcPct val="0"/>
                  </a:spcBef>
                  <a:spcAft>
                    <a:spcPts val="60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Arial" charset="0"/>
                    <a:hlinkClick r:id="rId4">
                      <a:extLst>
                        <a:ext uri="{A12FA001-AC4F-418D-AE19-62706E023703}">
                          <ahyp:hlinkClr xmlns:ahyp="http://schemas.microsoft.com/office/drawing/2018/hyperlinkcolor" val="tx"/>
                        </a:ext>
                      </a:extLst>
                    </a:hlinkClick>
                  </a:rPr>
                  <a:t>www.linkedin.com/in/jakob-trauer</a:t>
                </a:r>
                <a:endParaRPr kumimoji="0" lang="de-DE" sz="1400" b="0" i="0" u="none" strike="noStrike" kern="1200" cap="none" spc="0" normalizeH="0" baseline="0" noProof="0" dirty="0">
                  <a:ln>
                    <a:noFill/>
                  </a:ln>
                  <a:solidFill>
                    <a:prstClr val="white"/>
                  </a:solidFill>
                  <a:effectLst/>
                  <a:uLnTx/>
                  <a:uFillTx/>
                  <a:latin typeface="Arial"/>
                  <a:ea typeface="+mn-ea"/>
                  <a:cs typeface="Arial" charset="0"/>
                </a:endParaRPr>
              </a:p>
            </p:txBody>
          </p:sp>
          <p:pic>
            <p:nvPicPr>
              <p:cNvPr id="17" name="Grafik 16" descr="Benutzer">
                <a:extLst>
                  <a:ext uri="{FF2B5EF4-FFF2-40B4-BE49-F238E27FC236}">
                    <a16:creationId xmlns:a16="http://schemas.microsoft.com/office/drawing/2014/main" id="{7B43A6EB-7AB0-4013-A356-EBA600C63AA7}"/>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tretch>
                <a:fillRect/>
              </a:stretch>
            </p:blipFill>
            <p:spPr>
              <a:xfrm>
                <a:off x="1388879" y="2503917"/>
                <a:ext cx="288000" cy="288000"/>
              </a:xfrm>
              <a:prstGeom prst="rect">
                <a:avLst/>
              </a:prstGeom>
            </p:spPr>
          </p:pic>
          <p:pic>
            <p:nvPicPr>
              <p:cNvPr id="18" name="Grafik 17" descr="Umschlag">
                <a:extLst>
                  <a:ext uri="{FF2B5EF4-FFF2-40B4-BE49-F238E27FC236}">
                    <a16:creationId xmlns:a16="http://schemas.microsoft.com/office/drawing/2014/main" id="{B3E7C472-C8A9-4540-A97C-AF7B8C058BAD}"/>
                  </a:ext>
                </a:extLst>
              </p:cNvPr>
              <p:cNvPicPr>
                <a:picLocks noGrp="1" noRot="1" noChangeAspect="1" noMove="1" noResize="1" noEditPoints="1" noAdjustHandles="1" noChangeArrowheads="1" noChangeShapeType="1" noCrop="1"/>
              </p:cNvPicPr>
              <p:nvPr/>
            </p:nvPicPr>
            <p:blipFill>
              <a:blip r:embed="rId7">
                <a:extLst>
                  <a:ext uri="{96DAC541-7B7A-43D3-8B79-37D633B846F1}">
                    <asvg:svgBlip xmlns:asvg="http://schemas.microsoft.com/office/drawing/2016/SVG/main" r:embed="rId8"/>
                  </a:ext>
                </a:extLst>
              </a:blip>
              <a:stretch>
                <a:fillRect/>
              </a:stretch>
            </p:blipFill>
            <p:spPr>
              <a:xfrm>
                <a:off x="1388879" y="2846100"/>
                <a:ext cx="288000" cy="288000"/>
              </a:xfrm>
              <a:prstGeom prst="rect">
                <a:avLst/>
              </a:prstGeom>
            </p:spPr>
          </p:pic>
          <p:pic>
            <p:nvPicPr>
              <p:cNvPr id="19" name="Grafik 18" descr="Telefon">
                <a:extLst>
                  <a:ext uri="{FF2B5EF4-FFF2-40B4-BE49-F238E27FC236}">
                    <a16:creationId xmlns:a16="http://schemas.microsoft.com/office/drawing/2014/main" id="{7CC2DD1E-BD5E-4647-9D24-3C6CBB02FF3A}"/>
                  </a:ext>
                </a:extLst>
              </p:cNvPr>
              <p:cNvPicPr>
                <a:picLocks noGrp="1" noRot="1" noChangeAspect="1" noMove="1" noResize="1" noEditPoints="1" noAdjustHandles="1" noChangeArrowheads="1" noChangeShapeType="1" noCrop="1"/>
              </p:cNvPicPr>
              <p:nvPr/>
            </p:nvPicPr>
            <p:blipFill>
              <a:blip r:embed="rId9">
                <a:extLst>
                  <a:ext uri="{96DAC541-7B7A-43D3-8B79-37D633B846F1}">
                    <asvg:svgBlip xmlns:asvg="http://schemas.microsoft.com/office/drawing/2016/SVG/main" r:embed="rId10"/>
                  </a:ext>
                </a:extLst>
              </a:blip>
              <a:stretch>
                <a:fillRect/>
              </a:stretch>
            </p:blipFill>
            <p:spPr>
              <a:xfrm>
                <a:off x="1388879" y="3188283"/>
                <a:ext cx="288000" cy="288000"/>
              </a:xfrm>
              <a:prstGeom prst="rect">
                <a:avLst/>
              </a:prstGeom>
            </p:spPr>
          </p:pic>
        </p:grpSp>
        <p:pic>
          <p:nvPicPr>
            <p:cNvPr id="15" name="Grafik 14">
              <a:extLst>
                <a:ext uri="{FF2B5EF4-FFF2-40B4-BE49-F238E27FC236}">
                  <a16:creationId xmlns:a16="http://schemas.microsoft.com/office/drawing/2014/main" id="{B5506969-6BFE-47BE-A7C6-D082ADB0F2AB}"/>
                </a:ext>
              </a:extLst>
            </p:cNvPr>
            <p:cNvPicPr>
              <a:picLocks noGrp="1" noRot="1" noChangeAspect="1" noMove="1" noResize="1" noEditPoints="1" noAdjustHandles="1" noChangeArrowheads="1" noChangeShapeType="1" noCrop="1"/>
            </p:cNvPicPr>
            <p:nvPr/>
          </p:nvPicPr>
          <p:blipFill>
            <a:blip r:embed="rId11">
              <a:biLevel thresh="25000"/>
            </a:blip>
            <a:stretch>
              <a:fillRect/>
            </a:stretch>
          </p:blipFill>
          <p:spPr>
            <a:xfrm>
              <a:off x="1419326" y="3313535"/>
              <a:ext cx="254002" cy="216000"/>
            </a:xfrm>
            <a:prstGeom prst="rect">
              <a:avLst/>
            </a:prstGeom>
          </p:spPr>
        </p:pic>
      </p:grpSp>
    </p:spTree>
    <p:extLst>
      <p:ext uri="{BB962C8B-B14F-4D97-AF65-F5344CB8AC3E}">
        <p14:creationId xmlns:p14="http://schemas.microsoft.com/office/powerpoint/2010/main" val="4156186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50">
            <a:extLst>
              <a:ext uri="{FF2B5EF4-FFF2-40B4-BE49-F238E27FC236}">
                <a16:creationId xmlns:a16="http://schemas.microsoft.com/office/drawing/2014/main" id="{03DFB20E-4B2F-31E1-BF35-442877BBC715}"/>
              </a:ext>
            </a:extLst>
          </p:cNvPr>
          <p:cNvSpPr>
            <a:spLocks noGrp="1"/>
          </p:cNvSpPr>
          <p:nvPr>
            <p:ph type="body" sz="quarter" idx="10"/>
          </p:nvPr>
        </p:nvSpPr>
        <p:spPr/>
        <p:txBody>
          <a:bodyPr/>
          <a:lstStyle/>
          <a:p>
            <a:endParaRPr lang="en-US" dirty="0"/>
          </a:p>
        </p:txBody>
      </p:sp>
      <p:sp>
        <p:nvSpPr>
          <p:cNvPr id="52" name="Text Placeholder 51">
            <a:extLst>
              <a:ext uri="{FF2B5EF4-FFF2-40B4-BE49-F238E27FC236}">
                <a16:creationId xmlns:a16="http://schemas.microsoft.com/office/drawing/2014/main" id="{8EE2D3FA-3B12-1389-210D-1A5BAB0EEC1C}"/>
              </a:ext>
            </a:extLst>
          </p:cNvPr>
          <p:cNvSpPr>
            <a:spLocks noGrp="1"/>
          </p:cNvSpPr>
          <p:nvPr>
            <p:ph type="body" sz="quarter" idx="11"/>
          </p:nvPr>
        </p:nvSpPr>
        <p:spPr/>
        <p:txBody>
          <a:bodyPr/>
          <a:lstStyle/>
          <a:p>
            <a:endParaRPr lang="en-US"/>
          </a:p>
        </p:txBody>
      </p:sp>
      <p:sp>
        <p:nvSpPr>
          <p:cNvPr id="53" name="Text Placeholder 52">
            <a:extLst>
              <a:ext uri="{FF2B5EF4-FFF2-40B4-BE49-F238E27FC236}">
                <a16:creationId xmlns:a16="http://schemas.microsoft.com/office/drawing/2014/main" id="{1BBFC967-088A-E3DB-D379-EB9269185B8C}"/>
              </a:ext>
            </a:extLst>
          </p:cNvPr>
          <p:cNvSpPr>
            <a:spLocks noGrp="1"/>
          </p:cNvSpPr>
          <p:nvPr>
            <p:ph type="body" sz="quarter" idx="12"/>
          </p:nvPr>
        </p:nvSpPr>
        <p:spPr/>
        <p:txBody>
          <a:bodyPr/>
          <a:lstStyle/>
          <a:p>
            <a:endParaRPr lang="en-US"/>
          </a:p>
        </p:txBody>
      </p:sp>
      <p:sp>
        <p:nvSpPr>
          <p:cNvPr id="54" name="Text Placeholder 53">
            <a:extLst>
              <a:ext uri="{FF2B5EF4-FFF2-40B4-BE49-F238E27FC236}">
                <a16:creationId xmlns:a16="http://schemas.microsoft.com/office/drawing/2014/main" id="{681D9A08-3BFC-57D1-C0F1-9B8A18C4234A}"/>
              </a:ext>
            </a:extLst>
          </p:cNvPr>
          <p:cNvSpPr>
            <a:spLocks noGrp="1"/>
          </p:cNvSpPr>
          <p:nvPr>
            <p:ph type="body" sz="quarter" idx="13"/>
          </p:nvPr>
        </p:nvSpPr>
        <p:spPr/>
        <p:txBody>
          <a:bodyPr/>
          <a:lstStyle/>
          <a:p>
            <a:endParaRPr lang="en-US"/>
          </a:p>
        </p:txBody>
      </p:sp>
      <p:sp>
        <p:nvSpPr>
          <p:cNvPr id="55" name="Text Placeholder 54">
            <a:extLst>
              <a:ext uri="{FF2B5EF4-FFF2-40B4-BE49-F238E27FC236}">
                <a16:creationId xmlns:a16="http://schemas.microsoft.com/office/drawing/2014/main" id="{3DAB90F8-AC6A-9D6D-12A8-A1240BD34C0F}"/>
              </a:ext>
            </a:extLst>
          </p:cNvPr>
          <p:cNvSpPr>
            <a:spLocks noGrp="1"/>
          </p:cNvSpPr>
          <p:nvPr>
            <p:ph type="body" sz="quarter" idx="14"/>
          </p:nvPr>
        </p:nvSpPr>
        <p:spPr/>
        <p:txBody>
          <a:bodyPr/>
          <a:lstStyle/>
          <a:p>
            <a:endParaRPr lang="en-US"/>
          </a:p>
        </p:txBody>
      </p:sp>
      <p:sp>
        <p:nvSpPr>
          <p:cNvPr id="56" name="Content Placeholder 55">
            <a:extLst>
              <a:ext uri="{FF2B5EF4-FFF2-40B4-BE49-F238E27FC236}">
                <a16:creationId xmlns:a16="http://schemas.microsoft.com/office/drawing/2014/main" id="{2DA2626B-3E36-727E-F7AD-D633A95D9AD0}"/>
              </a:ext>
            </a:extLst>
          </p:cNvPr>
          <p:cNvSpPr>
            <a:spLocks noGrp="1"/>
          </p:cNvSpPr>
          <p:nvPr>
            <p:ph sz="quarter" idx="15"/>
          </p:nvPr>
        </p:nvSpPr>
        <p:spPr/>
        <p:txBody>
          <a:bodyPr/>
          <a:lstStyle/>
          <a:p>
            <a:endParaRPr lang="en-US"/>
          </a:p>
        </p:txBody>
      </p:sp>
      <p:sp>
        <p:nvSpPr>
          <p:cNvPr id="57" name="Content Placeholder 56">
            <a:extLst>
              <a:ext uri="{FF2B5EF4-FFF2-40B4-BE49-F238E27FC236}">
                <a16:creationId xmlns:a16="http://schemas.microsoft.com/office/drawing/2014/main" id="{D98CF0E5-80A0-8916-9C31-1AF9F2CD8867}"/>
              </a:ext>
            </a:extLst>
          </p:cNvPr>
          <p:cNvSpPr>
            <a:spLocks noGrp="1"/>
          </p:cNvSpPr>
          <p:nvPr>
            <p:ph sz="quarter" idx="16"/>
          </p:nvPr>
        </p:nvSpPr>
        <p:spPr/>
        <p:txBody>
          <a:bodyPr/>
          <a:lstStyle/>
          <a:p>
            <a:endParaRPr lang="en-US"/>
          </a:p>
        </p:txBody>
      </p:sp>
      <p:sp>
        <p:nvSpPr>
          <p:cNvPr id="58" name="Content Placeholder 57">
            <a:extLst>
              <a:ext uri="{FF2B5EF4-FFF2-40B4-BE49-F238E27FC236}">
                <a16:creationId xmlns:a16="http://schemas.microsoft.com/office/drawing/2014/main" id="{F1F62760-AB84-8F02-7D3D-81D265E8F148}"/>
              </a:ext>
            </a:extLst>
          </p:cNvPr>
          <p:cNvSpPr>
            <a:spLocks noGrp="1"/>
          </p:cNvSpPr>
          <p:nvPr>
            <p:ph sz="quarter" idx="17"/>
          </p:nvPr>
        </p:nvSpPr>
        <p:spPr/>
        <p:txBody>
          <a:bodyPr/>
          <a:lstStyle/>
          <a:p>
            <a:endParaRPr lang="en-US"/>
          </a:p>
        </p:txBody>
      </p:sp>
      <p:sp>
        <p:nvSpPr>
          <p:cNvPr id="59" name="Content Placeholder 58">
            <a:extLst>
              <a:ext uri="{FF2B5EF4-FFF2-40B4-BE49-F238E27FC236}">
                <a16:creationId xmlns:a16="http://schemas.microsoft.com/office/drawing/2014/main" id="{F7F16207-FFF5-83B0-3D3E-B3A274EE3C20}"/>
              </a:ext>
            </a:extLst>
          </p:cNvPr>
          <p:cNvSpPr>
            <a:spLocks noGrp="1"/>
          </p:cNvSpPr>
          <p:nvPr>
            <p:ph sz="quarter" idx="18"/>
          </p:nvPr>
        </p:nvSpPr>
        <p:spPr/>
        <p:txBody>
          <a:bodyPr/>
          <a:lstStyle/>
          <a:p>
            <a:endParaRPr lang="en-US"/>
          </a:p>
        </p:txBody>
      </p:sp>
      <p:sp>
        <p:nvSpPr>
          <p:cNvPr id="60" name="Content Placeholder 59">
            <a:extLst>
              <a:ext uri="{FF2B5EF4-FFF2-40B4-BE49-F238E27FC236}">
                <a16:creationId xmlns:a16="http://schemas.microsoft.com/office/drawing/2014/main" id="{BF0F42EE-406B-91FD-C4AF-631CE90548B5}"/>
              </a:ext>
            </a:extLst>
          </p:cNvPr>
          <p:cNvSpPr>
            <a:spLocks noGrp="1"/>
          </p:cNvSpPr>
          <p:nvPr>
            <p:ph sz="quarter" idx="19"/>
          </p:nvPr>
        </p:nvSpPr>
        <p:spPr/>
        <p:txBody>
          <a:bodyPr/>
          <a:lstStyle/>
          <a:p>
            <a:endParaRPr lang="en-US"/>
          </a:p>
        </p:txBody>
      </p:sp>
      <p:sp>
        <p:nvSpPr>
          <p:cNvPr id="50" name="Title 49">
            <a:extLst>
              <a:ext uri="{FF2B5EF4-FFF2-40B4-BE49-F238E27FC236}">
                <a16:creationId xmlns:a16="http://schemas.microsoft.com/office/drawing/2014/main" id="{CE9B0682-3EA7-8BB5-BF0C-222369EB7858}"/>
              </a:ext>
            </a:extLst>
          </p:cNvPr>
          <p:cNvSpPr>
            <a:spLocks noGrp="1"/>
          </p:cNvSpPr>
          <p:nvPr>
            <p:ph type="title"/>
          </p:nvPr>
        </p:nvSpPr>
        <p:spPr/>
        <p:txBody>
          <a:bodyPr/>
          <a:lstStyle/>
          <a:p>
            <a:r>
              <a:rPr lang="en-US" dirty="0"/>
              <a:t>Production &amp; Operation Twins Overview</a:t>
            </a:r>
          </a:p>
        </p:txBody>
      </p:sp>
      <p:grpSp>
        <p:nvGrpSpPr>
          <p:cNvPr id="29" name="Group 28">
            <a:extLst>
              <a:ext uri="{FF2B5EF4-FFF2-40B4-BE49-F238E27FC236}">
                <a16:creationId xmlns:a16="http://schemas.microsoft.com/office/drawing/2014/main" id="{A8111091-D904-BC3D-E8F2-9FB716FF1855}"/>
              </a:ext>
            </a:extLst>
          </p:cNvPr>
          <p:cNvGrpSpPr/>
          <p:nvPr>
            <p:custDataLst>
              <p:tags r:id="rId1"/>
            </p:custDataLst>
          </p:nvPr>
        </p:nvGrpSpPr>
        <p:grpSpPr>
          <a:xfrm>
            <a:off x="5672659" y="2514604"/>
            <a:ext cx="1388000" cy="93662"/>
            <a:chOff x="3810000" y="2571750"/>
            <a:chExt cx="1524000" cy="152400"/>
          </a:xfrm>
        </p:grpSpPr>
        <p:sp>
          <p:nvSpPr>
            <p:cNvPr id="26" name="background">
              <a:extLst>
                <a:ext uri="{FF2B5EF4-FFF2-40B4-BE49-F238E27FC236}">
                  <a16:creationId xmlns:a16="http://schemas.microsoft.com/office/drawing/2014/main" id="{439E56EB-9711-2555-168A-E79B50244A17}"/>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27" name="bar">
              <a:extLst>
                <a:ext uri="{FF2B5EF4-FFF2-40B4-BE49-F238E27FC236}">
                  <a16:creationId xmlns:a16="http://schemas.microsoft.com/office/drawing/2014/main" id="{67AD7427-A410-4A92-FB73-51C533B7A5D7}"/>
                </a:ext>
              </a:extLst>
            </p:cNvPr>
            <p:cNvSpPr/>
            <p:nvPr/>
          </p:nvSpPr>
          <p:spPr>
            <a:xfrm>
              <a:off x="3810000" y="2571750"/>
              <a:ext cx="135636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89%</a:t>
              </a:r>
              <a:endParaRPr lang="en-US" sz="553" dirty="0">
                <a:solidFill>
                  <a:srgbClr val="FFFFFF"/>
                </a:solidFill>
              </a:endParaRPr>
            </a:p>
          </p:txBody>
        </p:sp>
        <p:sp>
          <p:nvSpPr>
            <p:cNvPr id="28" name="foreground">
              <a:extLst>
                <a:ext uri="{FF2B5EF4-FFF2-40B4-BE49-F238E27FC236}">
                  <a16:creationId xmlns:a16="http://schemas.microsoft.com/office/drawing/2014/main" id="{C41193AB-8F8A-F45C-C2DB-8231B7A1DC4E}"/>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0" name="Group 29">
            <a:extLst>
              <a:ext uri="{FF2B5EF4-FFF2-40B4-BE49-F238E27FC236}">
                <a16:creationId xmlns:a16="http://schemas.microsoft.com/office/drawing/2014/main" id="{DD8393DC-9DD2-5B48-457A-F6FFB80375FA}"/>
              </a:ext>
            </a:extLst>
          </p:cNvPr>
          <p:cNvGrpSpPr/>
          <p:nvPr>
            <p:custDataLst>
              <p:tags r:id="rId2"/>
            </p:custDataLst>
          </p:nvPr>
        </p:nvGrpSpPr>
        <p:grpSpPr>
          <a:xfrm>
            <a:off x="5672659" y="3102503"/>
            <a:ext cx="1388000" cy="93662"/>
            <a:chOff x="3810000" y="2571750"/>
            <a:chExt cx="1524000" cy="152400"/>
          </a:xfrm>
        </p:grpSpPr>
        <p:sp>
          <p:nvSpPr>
            <p:cNvPr id="31" name="background">
              <a:extLst>
                <a:ext uri="{FF2B5EF4-FFF2-40B4-BE49-F238E27FC236}">
                  <a16:creationId xmlns:a16="http://schemas.microsoft.com/office/drawing/2014/main" id="{81DD8ACD-B83B-1B37-4C95-F1C25862440E}"/>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32" name="bar">
              <a:extLst>
                <a:ext uri="{FF2B5EF4-FFF2-40B4-BE49-F238E27FC236}">
                  <a16:creationId xmlns:a16="http://schemas.microsoft.com/office/drawing/2014/main" id="{C24D2B38-C773-C118-A529-1CD56F7184C9}"/>
                </a:ext>
              </a:extLst>
            </p:cNvPr>
            <p:cNvSpPr/>
            <p:nvPr/>
          </p:nvSpPr>
          <p:spPr>
            <a:xfrm>
              <a:off x="3810000" y="2571750"/>
              <a:ext cx="89916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59%</a:t>
              </a:r>
              <a:endParaRPr lang="en-US" sz="553" dirty="0">
                <a:solidFill>
                  <a:srgbClr val="FFFFFF"/>
                </a:solidFill>
              </a:endParaRPr>
            </a:p>
          </p:txBody>
        </p:sp>
        <p:sp>
          <p:nvSpPr>
            <p:cNvPr id="33" name="foreground">
              <a:extLst>
                <a:ext uri="{FF2B5EF4-FFF2-40B4-BE49-F238E27FC236}">
                  <a16:creationId xmlns:a16="http://schemas.microsoft.com/office/drawing/2014/main" id="{D881FBB0-125A-56B2-5F74-90826396861F}"/>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4" name="Group 33">
            <a:extLst>
              <a:ext uri="{FF2B5EF4-FFF2-40B4-BE49-F238E27FC236}">
                <a16:creationId xmlns:a16="http://schemas.microsoft.com/office/drawing/2014/main" id="{01126EA2-B90B-6910-0404-340B4A5A93C9}"/>
              </a:ext>
            </a:extLst>
          </p:cNvPr>
          <p:cNvGrpSpPr/>
          <p:nvPr>
            <p:custDataLst>
              <p:tags r:id="rId3"/>
            </p:custDataLst>
          </p:nvPr>
        </p:nvGrpSpPr>
        <p:grpSpPr>
          <a:xfrm>
            <a:off x="5672659" y="2808553"/>
            <a:ext cx="1388000" cy="93662"/>
            <a:chOff x="3810000" y="2571750"/>
            <a:chExt cx="1524000" cy="152400"/>
          </a:xfrm>
        </p:grpSpPr>
        <p:sp>
          <p:nvSpPr>
            <p:cNvPr id="35" name="background">
              <a:extLst>
                <a:ext uri="{FF2B5EF4-FFF2-40B4-BE49-F238E27FC236}">
                  <a16:creationId xmlns:a16="http://schemas.microsoft.com/office/drawing/2014/main" id="{71854C91-4BA5-54F3-57C8-4BAE7E3D0C39}"/>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36" name="bar">
              <a:extLst>
                <a:ext uri="{FF2B5EF4-FFF2-40B4-BE49-F238E27FC236}">
                  <a16:creationId xmlns:a16="http://schemas.microsoft.com/office/drawing/2014/main" id="{1C8D1726-B3B8-2839-A091-529D94D40BC1}"/>
                </a:ext>
              </a:extLst>
            </p:cNvPr>
            <p:cNvSpPr/>
            <p:nvPr/>
          </p:nvSpPr>
          <p:spPr>
            <a:xfrm>
              <a:off x="3810000" y="2571750"/>
              <a:ext cx="53340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35%</a:t>
              </a:r>
              <a:endParaRPr lang="en-US" sz="553" dirty="0">
                <a:solidFill>
                  <a:srgbClr val="FFFFFF"/>
                </a:solidFill>
              </a:endParaRPr>
            </a:p>
          </p:txBody>
        </p:sp>
        <p:sp>
          <p:nvSpPr>
            <p:cNvPr id="37" name="foreground">
              <a:extLst>
                <a:ext uri="{FF2B5EF4-FFF2-40B4-BE49-F238E27FC236}">
                  <a16:creationId xmlns:a16="http://schemas.microsoft.com/office/drawing/2014/main" id="{EFB6BC0B-7B69-C967-CBE0-0D5A4A2F3EFD}"/>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38" name="Group 37">
            <a:extLst>
              <a:ext uri="{FF2B5EF4-FFF2-40B4-BE49-F238E27FC236}">
                <a16:creationId xmlns:a16="http://schemas.microsoft.com/office/drawing/2014/main" id="{7EB54FC5-AD1F-2928-E946-98A869D2F328}"/>
              </a:ext>
            </a:extLst>
          </p:cNvPr>
          <p:cNvGrpSpPr/>
          <p:nvPr>
            <p:custDataLst>
              <p:tags r:id="rId4"/>
            </p:custDataLst>
          </p:nvPr>
        </p:nvGrpSpPr>
        <p:grpSpPr>
          <a:xfrm>
            <a:off x="8094133" y="2514604"/>
            <a:ext cx="998540" cy="93662"/>
            <a:chOff x="3810000" y="2571750"/>
            <a:chExt cx="1524000" cy="152400"/>
          </a:xfrm>
        </p:grpSpPr>
        <p:sp>
          <p:nvSpPr>
            <p:cNvPr id="39" name="background">
              <a:extLst>
                <a:ext uri="{FF2B5EF4-FFF2-40B4-BE49-F238E27FC236}">
                  <a16:creationId xmlns:a16="http://schemas.microsoft.com/office/drawing/2014/main" id="{CCBF666C-E8AA-4A75-07CB-C54BABA3917E}"/>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40" name="bar">
              <a:extLst>
                <a:ext uri="{FF2B5EF4-FFF2-40B4-BE49-F238E27FC236}">
                  <a16:creationId xmlns:a16="http://schemas.microsoft.com/office/drawing/2014/main" id="{6F667F62-AFFD-4546-3920-52085B71E931}"/>
                </a:ext>
              </a:extLst>
            </p:cNvPr>
            <p:cNvSpPr/>
            <p:nvPr/>
          </p:nvSpPr>
          <p:spPr>
            <a:xfrm>
              <a:off x="3810000" y="2571750"/>
              <a:ext cx="746761"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dirty="0">
                  <a:solidFill>
                    <a:srgbClr val="FFFFFF"/>
                  </a:solidFill>
                </a:rPr>
                <a:t>49%</a:t>
              </a:r>
            </a:p>
          </p:txBody>
        </p:sp>
        <p:sp>
          <p:nvSpPr>
            <p:cNvPr id="41" name="foreground">
              <a:extLst>
                <a:ext uri="{FF2B5EF4-FFF2-40B4-BE49-F238E27FC236}">
                  <a16:creationId xmlns:a16="http://schemas.microsoft.com/office/drawing/2014/main" id="{BA13D781-7548-43A8-C411-A2123DA05028}"/>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42" name="Group 41">
            <a:extLst>
              <a:ext uri="{FF2B5EF4-FFF2-40B4-BE49-F238E27FC236}">
                <a16:creationId xmlns:a16="http://schemas.microsoft.com/office/drawing/2014/main" id="{8C232A33-ECD6-E587-7F04-71ED94031CBF}"/>
              </a:ext>
            </a:extLst>
          </p:cNvPr>
          <p:cNvGrpSpPr/>
          <p:nvPr>
            <p:custDataLst>
              <p:tags r:id="rId5"/>
            </p:custDataLst>
          </p:nvPr>
        </p:nvGrpSpPr>
        <p:grpSpPr>
          <a:xfrm>
            <a:off x="8094133" y="3102503"/>
            <a:ext cx="998540" cy="93662"/>
            <a:chOff x="3810000" y="2571750"/>
            <a:chExt cx="1524000" cy="152400"/>
          </a:xfrm>
        </p:grpSpPr>
        <p:sp>
          <p:nvSpPr>
            <p:cNvPr id="43" name="background">
              <a:extLst>
                <a:ext uri="{FF2B5EF4-FFF2-40B4-BE49-F238E27FC236}">
                  <a16:creationId xmlns:a16="http://schemas.microsoft.com/office/drawing/2014/main" id="{9A472E62-88B5-A241-17C6-1E7C32B57547}"/>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44" name="bar">
              <a:extLst>
                <a:ext uri="{FF2B5EF4-FFF2-40B4-BE49-F238E27FC236}">
                  <a16:creationId xmlns:a16="http://schemas.microsoft.com/office/drawing/2014/main" id="{88D9A6B1-A625-7AE9-F967-392CBE5F1A7F}"/>
                </a:ext>
              </a:extLst>
            </p:cNvPr>
            <p:cNvSpPr/>
            <p:nvPr/>
          </p:nvSpPr>
          <p:spPr>
            <a:xfrm>
              <a:off x="3810000" y="2571750"/>
              <a:ext cx="929639"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a:solidFill>
                    <a:srgbClr val="FFFFFF"/>
                  </a:solidFill>
                </a:rPr>
                <a:t>61%</a:t>
              </a:r>
              <a:endParaRPr lang="en-US" sz="553" dirty="0">
                <a:solidFill>
                  <a:srgbClr val="FFFFFF"/>
                </a:solidFill>
              </a:endParaRPr>
            </a:p>
          </p:txBody>
        </p:sp>
        <p:sp>
          <p:nvSpPr>
            <p:cNvPr id="45" name="foreground">
              <a:extLst>
                <a:ext uri="{FF2B5EF4-FFF2-40B4-BE49-F238E27FC236}">
                  <a16:creationId xmlns:a16="http://schemas.microsoft.com/office/drawing/2014/main" id="{E877FED3-ADB1-99D4-A841-68450831131C}"/>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grpSp>
        <p:nvGrpSpPr>
          <p:cNvPr id="46" name="Group 45">
            <a:extLst>
              <a:ext uri="{FF2B5EF4-FFF2-40B4-BE49-F238E27FC236}">
                <a16:creationId xmlns:a16="http://schemas.microsoft.com/office/drawing/2014/main" id="{2E93ECAB-4D60-B6F2-44C8-D74737B30BBF}"/>
              </a:ext>
            </a:extLst>
          </p:cNvPr>
          <p:cNvGrpSpPr/>
          <p:nvPr>
            <p:custDataLst>
              <p:tags r:id="rId6"/>
            </p:custDataLst>
          </p:nvPr>
        </p:nvGrpSpPr>
        <p:grpSpPr>
          <a:xfrm>
            <a:off x="8094133" y="2808553"/>
            <a:ext cx="998540" cy="93662"/>
            <a:chOff x="3810000" y="2571750"/>
            <a:chExt cx="1524000" cy="152400"/>
          </a:xfrm>
        </p:grpSpPr>
        <p:sp>
          <p:nvSpPr>
            <p:cNvPr id="47" name="background">
              <a:extLst>
                <a:ext uri="{FF2B5EF4-FFF2-40B4-BE49-F238E27FC236}">
                  <a16:creationId xmlns:a16="http://schemas.microsoft.com/office/drawing/2014/main" id="{CD2E6C0F-E316-CC07-A601-3D41FFE16C5C}"/>
                </a:ext>
              </a:extLst>
            </p:cNvPr>
            <p:cNvSpPr/>
            <p:nvPr/>
          </p:nvSpPr>
          <p:spPr>
            <a:xfrm>
              <a:off x="3810000" y="2571750"/>
              <a:ext cx="1524000" cy="15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solidFill>
                  <a:srgbClr val="000000"/>
                </a:solidFill>
              </a:endParaRPr>
            </a:p>
          </p:txBody>
        </p:sp>
        <p:sp>
          <p:nvSpPr>
            <p:cNvPr id="48" name="bar">
              <a:extLst>
                <a:ext uri="{FF2B5EF4-FFF2-40B4-BE49-F238E27FC236}">
                  <a16:creationId xmlns:a16="http://schemas.microsoft.com/office/drawing/2014/main" id="{5DFD03FF-B043-0070-99E9-CA29386576FA}"/>
                </a:ext>
              </a:extLst>
            </p:cNvPr>
            <p:cNvSpPr/>
            <p:nvPr/>
          </p:nvSpPr>
          <p:spPr>
            <a:xfrm>
              <a:off x="3810000" y="2571750"/>
              <a:ext cx="1402080" cy="15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35123" bIns="45720" numCol="1" spcCol="0" rtlCol="0" fromWordArt="0" anchor="ctr" anchorCtr="0" forceAA="0" compatLnSpc="1">
              <a:prstTxWarp prst="textNoShape">
                <a:avLst/>
              </a:prstTxWarp>
              <a:noAutofit/>
            </a:bodyPr>
            <a:lstStyle/>
            <a:p>
              <a:pPr algn="r">
                <a:lnSpc>
                  <a:spcPct val="114000"/>
                </a:lnSpc>
              </a:pPr>
              <a:r>
                <a:rPr lang="en-US" sz="553" dirty="0">
                  <a:solidFill>
                    <a:srgbClr val="FFFFFF"/>
                  </a:solidFill>
                </a:rPr>
                <a:t>92%</a:t>
              </a:r>
            </a:p>
          </p:txBody>
        </p:sp>
        <p:sp>
          <p:nvSpPr>
            <p:cNvPr id="49" name="foreground">
              <a:extLst>
                <a:ext uri="{FF2B5EF4-FFF2-40B4-BE49-F238E27FC236}">
                  <a16:creationId xmlns:a16="http://schemas.microsoft.com/office/drawing/2014/main" id="{6DFE125C-1E34-2827-5DED-2E5FD6B7BFEF}"/>
                </a:ext>
              </a:extLst>
            </p:cNvPr>
            <p:cNvSpPr/>
            <p:nvPr/>
          </p:nvSpPr>
          <p:spPr>
            <a:xfrm>
              <a:off x="3810000" y="2571750"/>
              <a:ext cx="1524000" cy="152400"/>
            </a:xfrm>
            <a:prstGeom prst="rect">
              <a:avLst/>
            </a:prstGeom>
            <a:noFill/>
            <a:ln w="9525">
              <a:solidFill>
                <a:srgbClr val="0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sp>
        <p:nvSpPr>
          <p:cNvPr id="2" name="Trapezoid 1">
            <a:hlinkClick r:id="rId8" action="ppaction://hlinksldjump"/>
            <a:extLst>
              <a:ext uri="{FF2B5EF4-FFF2-40B4-BE49-F238E27FC236}">
                <a16:creationId xmlns:a16="http://schemas.microsoft.com/office/drawing/2014/main" id="{DF4A2982-5DDB-9074-E4DC-B5A03FAFC24D}"/>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3" name="Trapezoid 2">
            <a:hlinkClick r:id="rId9" action="ppaction://hlinksldjump"/>
            <a:extLst>
              <a:ext uri="{FF2B5EF4-FFF2-40B4-BE49-F238E27FC236}">
                <a16:creationId xmlns:a16="http://schemas.microsoft.com/office/drawing/2014/main" id="{700964B6-C35A-A619-E944-43BA0AA53887}"/>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4" name="Trapezoid 3">
            <a:hlinkClick r:id="rId10" action="ppaction://hlinksldjump"/>
            <a:extLst>
              <a:ext uri="{FF2B5EF4-FFF2-40B4-BE49-F238E27FC236}">
                <a16:creationId xmlns:a16="http://schemas.microsoft.com/office/drawing/2014/main" id="{6E04A507-C5BB-4E18-B720-DB2FF0AA9E66}"/>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5" name="Trapezoid 4">
            <a:hlinkClick r:id="rId11" action="ppaction://hlinksldjump"/>
            <a:extLst>
              <a:ext uri="{FF2B5EF4-FFF2-40B4-BE49-F238E27FC236}">
                <a16:creationId xmlns:a16="http://schemas.microsoft.com/office/drawing/2014/main" id="{D706BEFB-99E1-AB66-EECB-9397AC895851}"/>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6" name="Trapezoid 5">
            <a:hlinkClick r:id="rId12" action="ppaction://hlinksldjump"/>
            <a:extLst>
              <a:ext uri="{FF2B5EF4-FFF2-40B4-BE49-F238E27FC236}">
                <a16:creationId xmlns:a16="http://schemas.microsoft.com/office/drawing/2014/main" id="{80371AFF-A319-56DB-9E47-8D62DD989749}"/>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7" name="Trapezoid 6">
            <a:hlinkClick r:id="rId13" action="ppaction://hlinksldjump"/>
            <a:extLst>
              <a:ext uri="{FF2B5EF4-FFF2-40B4-BE49-F238E27FC236}">
                <a16:creationId xmlns:a16="http://schemas.microsoft.com/office/drawing/2014/main" id="{89B0143C-878F-0839-384F-E5B116607B36}"/>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8" name="Trapezoid 7">
            <a:hlinkClick r:id="rId14" action="ppaction://hlinksldjump"/>
            <a:extLst>
              <a:ext uri="{FF2B5EF4-FFF2-40B4-BE49-F238E27FC236}">
                <a16:creationId xmlns:a16="http://schemas.microsoft.com/office/drawing/2014/main" id="{4251ED6E-384F-0854-004F-B9D99339A692}"/>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9" name="Trapezoid 8">
            <a:hlinkClick r:id="rId15" action="ppaction://hlinksldjump"/>
            <a:extLst>
              <a:ext uri="{FF2B5EF4-FFF2-40B4-BE49-F238E27FC236}">
                <a16:creationId xmlns:a16="http://schemas.microsoft.com/office/drawing/2014/main" id="{DEE490E0-72DB-6B55-EA83-C49A3D08332F}"/>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10" name="Trapezoid 9">
            <a:hlinkClick r:id="rId16" action="ppaction://hlinksldjump"/>
            <a:extLst>
              <a:ext uri="{FF2B5EF4-FFF2-40B4-BE49-F238E27FC236}">
                <a16:creationId xmlns:a16="http://schemas.microsoft.com/office/drawing/2014/main" id="{E5663B4B-64BD-5DCA-F880-5B0ECA1FC824}"/>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1" name="Trapezoid 10">
            <a:hlinkClick r:id="rId17" action="ppaction://hlinksldjump"/>
            <a:extLst>
              <a:ext uri="{FF2B5EF4-FFF2-40B4-BE49-F238E27FC236}">
                <a16:creationId xmlns:a16="http://schemas.microsoft.com/office/drawing/2014/main" id="{EC04C203-DB7D-DFDC-29E2-D14970F2782C}"/>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Overview</a:t>
            </a:r>
          </a:p>
        </p:txBody>
      </p:sp>
      <p:sp>
        <p:nvSpPr>
          <p:cNvPr id="12" name="Rechteck 5">
            <a:extLst>
              <a:ext uri="{FF2B5EF4-FFF2-40B4-BE49-F238E27FC236}">
                <a16:creationId xmlns:a16="http://schemas.microsoft.com/office/drawing/2014/main" id="{CC47440A-1C43-8F93-95CF-24C25EF7BCF0}"/>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4105021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3AE644-F346-F0EC-3355-B03C3D1F7BB9}"/>
              </a:ext>
            </a:extLst>
          </p:cNvPr>
          <p:cNvSpPr>
            <a:spLocks noGrp="1"/>
          </p:cNvSpPr>
          <p:nvPr>
            <p:ph sz="quarter" idx="10"/>
          </p:nvPr>
        </p:nvSpPr>
        <p:spPr/>
        <p:txBody>
          <a:bodyPr/>
          <a:lstStyle/>
          <a:p>
            <a:endParaRPr lang="en-US" dirty="0"/>
          </a:p>
        </p:txBody>
      </p:sp>
      <p:sp>
        <p:nvSpPr>
          <p:cNvPr id="3" name="Title 2">
            <a:extLst>
              <a:ext uri="{FF2B5EF4-FFF2-40B4-BE49-F238E27FC236}">
                <a16:creationId xmlns:a16="http://schemas.microsoft.com/office/drawing/2014/main" id="{E533737D-13B7-1C3C-944F-33DD946FD0BC}"/>
              </a:ext>
            </a:extLst>
          </p:cNvPr>
          <p:cNvSpPr>
            <a:spLocks noGrp="1"/>
          </p:cNvSpPr>
          <p:nvPr>
            <p:ph type="title"/>
          </p:nvPr>
        </p:nvSpPr>
        <p:spPr>
          <a:xfrm>
            <a:off x="0" y="-404510"/>
            <a:ext cx="7886700" cy="395160"/>
          </a:xfrm>
        </p:spPr>
        <p:txBody>
          <a:bodyPr/>
          <a:lstStyle/>
          <a:p>
            <a:r>
              <a:rPr lang="en-US" dirty="0"/>
              <a:t>Production &amp; Operation Twins As-Is Process</a:t>
            </a:r>
          </a:p>
        </p:txBody>
      </p:sp>
      <p:sp>
        <p:nvSpPr>
          <p:cNvPr id="4" name="Trapezoid 3">
            <a:hlinkClick r:id="rId2" action="ppaction://hlinksldjump"/>
            <a:extLst>
              <a:ext uri="{FF2B5EF4-FFF2-40B4-BE49-F238E27FC236}">
                <a16:creationId xmlns:a16="http://schemas.microsoft.com/office/drawing/2014/main" id="{2CACD960-31B7-9523-163B-813399D07540}"/>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5" name="Trapezoid 4">
            <a:hlinkClick r:id="rId3" action="ppaction://hlinksldjump"/>
            <a:extLst>
              <a:ext uri="{FF2B5EF4-FFF2-40B4-BE49-F238E27FC236}">
                <a16:creationId xmlns:a16="http://schemas.microsoft.com/office/drawing/2014/main" id="{994D88B5-6A48-3373-F5AE-ADBABC892C3F}"/>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6" name="Trapezoid 5">
            <a:hlinkClick r:id="rId4" action="ppaction://hlinksldjump"/>
            <a:extLst>
              <a:ext uri="{FF2B5EF4-FFF2-40B4-BE49-F238E27FC236}">
                <a16:creationId xmlns:a16="http://schemas.microsoft.com/office/drawing/2014/main" id="{73025EE7-ACB2-41EF-7533-13B0B32D1378}"/>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7" name="Trapezoid 6">
            <a:hlinkClick r:id="rId5" action="ppaction://hlinksldjump"/>
            <a:extLst>
              <a:ext uri="{FF2B5EF4-FFF2-40B4-BE49-F238E27FC236}">
                <a16:creationId xmlns:a16="http://schemas.microsoft.com/office/drawing/2014/main" id="{7BA36A65-2BB2-BEC3-A533-13D683C281A1}"/>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8" name="Trapezoid 7">
            <a:hlinkClick r:id="rId6" action="ppaction://hlinksldjump"/>
            <a:extLst>
              <a:ext uri="{FF2B5EF4-FFF2-40B4-BE49-F238E27FC236}">
                <a16:creationId xmlns:a16="http://schemas.microsoft.com/office/drawing/2014/main" id="{1B758D5A-9BCA-E7B4-3D03-35282DFE7D12}"/>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9" name="Trapezoid 8">
            <a:hlinkClick r:id="rId7" action="ppaction://hlinksldjump"/>
            <a:extLst>
              <a:ext uri="{FF2B5EF4-FFF2-40B4-BE49-F238E27FC236}">
                <a16:creationId xmlns:a16="http://schemas.microsoft.com/office/drawing/2014/main" id="{0A1C746A-C2EA-E492-2CCC-B73F1612070C}"/>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0" name="Trapezoid 9">
            <a:hlinkClick r:id="rId8" action="ppaction://hlinksldjump"/>
            <a:extLst>
              <a:ext uri="{FF2B5EF4-FFF2-40B4-BE49-F238E27FC236}">
                <a16:creationId xmlns:a16="http://schemas.microsoft.com/office/drawing/2014/main" id="{B288C3A9-091F-3513-6C1E-D2CE39654643}"/>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11" name="Trapezoid 10">
            <a:hlinkClick r:id="rId9" action="ppaction://hlinksldjump"/>
            <a:extLst>
              <a:ext uri="{FF2B5EF4-FFF2-40B4-BE49-F238E27FC236}">
                <a16:creationId xmlns:a16="http://schemas.microsoft.com/office/drawing/2014/main" id="{84323E68-E3A5-EC0D-2A99-62F7AF881526}"/>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13" name="Trapezoid 12">
            <a:hlinkClick r:id="rId10" action="ppaction://hlinksldjump"/>
            <a:extLst>
              <a:ext uri="{FF2B5EF4-FFF2-40B4-BE49-F238E27FC236}">
                <a16:creationId xmlns:a16="http://schemas.microsoft.com/office/drawing/2014/main" id="{18DA3820-B68C-0654-2E88-B072BE00B496}"/>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a:solidFill>
                  <a:prstClr val="black"/>
                </a:solidFill>
                <a:latin typeface="Arial"/>
              </a:rPr>
              <a:t>Overview</a:t>
            </a:r>
            <a:endParaRPr lang="en-US" sz="900" dirty="0">
              <a:solidFill>
                <a:prstClr val="black"/>
              </a:solidFill>
              <a:latin typeface="Arial"/>
            </a:endParaRPr>
          </a:p>
        </p:txBody>
      </p:sp>
      <p:sp>
        <p:nvSpPr>
          <p:cNvPr id="12" name="Trapezoid 11">
            <a:hlinkClick r:id="rId11" action="ppaction://hlinksldjump"/>
            <a:extLst>
              <a:ext uri="{FF2B5EF4-FFF2-40B4-BE49-F238E27FC236}">
                <a16:creationId xmlns:a16="http://schemas.microsoft.com/office/drawing/2014/main" id="{28EAFD87-CBB2-249A-5B46-3FDEE98399DA}"/>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As-is process</a:t>
            </a:r>
          </a:p>
        </p:txBody>
      </p:sp>
      <p:sp>
        <p:nvSpPr>
          <p:cNvPr id="14" name="Rechteck 5">
            <a:extLst>
              <a:ext uri="{FF2B5EF4-FFF2-40B4-BE49-F238E27FC236}">
                <a16:creationId xmlns:a16="http://schemas.microsoft.com/office/drawing/2014/main" id="{58029D81-788E-CD84-FC98-0376707B4EB4}"/>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4750294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CA2BEA-54B2-9493-FD9C-29BCD69B4787}"/>
              </a:ext>
            </a:extLst>
          </p:cNvPr>
          <p:cNvSpPr>
            <a:spLocks noGrp="1"/>
          </p:cNvSpPr>
          <p:nvPr>
            <p:ph sz="quarter" idx="10"/>
          </p:nvPr>
        </p:nvSpPr>
        <p:spPr/>
        <p:txBody>
          <a:bodyPr/>
          <a:lstStyle/>
          <a:p>
            <a:endParaRPr lang="en-US"/>
          </a:p>
        </p:txBody>
      </p:sp>
      <p:sp>
        <p:nvSpPr>
          <p:cNvPr id="3" name="Title 2">
            <a:extLst>
              <a:ext uri="{FF2B5EF4-FFF2-40B4-BE49-F238E27FC236}">
                <a16:creationId xmlns:a16="http://schemas.microsoft.com/office/drawing/2014/main" id="{D490E322-0F64-DBFE-1978-06EC97013DA6}"/>
              </a:ext>
            </a:extLst>
          </p:cNvPr>
          <p:cNvSpPr>
            <a:spLocks noGrp="1"/>
          </p:cNvSpPr>
          <p:nvPr>
            <p:ph type="title"/>
          </p:nvPr>
        </p:nvSpPr>
        <p:spPr/>
        <p:txBody>
          <a:bodyPr/>
          <a:lstStyle/>
          <a:p>
            <a:r>
              <a:rPr lang="en-US" dirty="0"/>
              <a:t>Production &amp; Operation Twins As-Is Process Environment</a:t>
            </a:r>
          </a:p>
        </p:txBody>
      </p:sp>
      <p:sp>
        <p:nvSpPr>
          <p:cNvPr id="4" name="Trapezoid 3">
            <a:hlinkClick r:id="rId2" action="ppaction://hlinksldjump"/>
            <a:extLst>
              <a:ext uri="{FF2B5EF4-FFF2-40B4-BE49-F238E27FC236}">
                <a16:creationId xmlns:a16="http://schemas.microsoft.com/office/drawing/2014/main" id="{E345FE00-0E60-3F42-C7A7-3EA3DA0BF4F2}"/>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5" name="Trapezoid 4">
            <a:hlinkClick r:id="rId3" action="ppaction://hlinksldjump"/>
            <a:extLst>
              <a:ext uri="{FF2B5EF4-FFF2-40B4-BE49-F238E27FC236}">
                <a16:creationId xmlns:a16="http://schemas.microsoft.com/office/drawing/2014/main" id="{8F635F14-0365-9356-9482-7FAF6E6EE614}"/>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6" name="Trapezoid 5">
            <a:hlinkClick r:id="rId4" action="ppaction://hlinksldjump"/>
            <a:extLst>
              <a:ext uri="{FF2B5EF4-FFF2-40B4-BE49-F238E27FC236}">
                <a16:creationId xmlns:a16="http://schemas.microsoft.com/office/drawing/2014/main" id="{4C89EBCE-0E72-C64F-2C7A-5D1795D17CEC}"/>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7" name="Trapezoid 6">
            <a:hlinkClick r:id="rId5" action="ppaction://hlinksldjump"/>
            <a:extLst>
              <a:ext uri="{FF2B5EF4-FFF2-40B4-BE49-F238E27FC236}">
                <a16:creationId xmlns:a16="http://schemas.microsoft.com/office/drawing/2014/main" id="{D2B39995-6021-C36F-8527-F9A76BFA48E4}"/>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8" name="Trapezoid 7">
            <a:hlinkClick r:id="rId6" action="ppaction://hlinksldjump"/>
            <a:extLst>
              <a:ext uri="{FF2B5EF4-FFF2-40B4-BE49-F238E27FC236}">
                <a16:creationId xmlns:a16="http://schemas.microsoft.com/office/drawing/2014/main" id="{24A8D29C-31EA-509C-F2AE-500DD645FA11}"/>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9" name="Trapezoid 8">
            <a:hlinkClick r:id="rId7" action="ppaction://hlinksldjump"/>
            <a:extLst>
              <a:ext uri="{FF2B5EF4-FFF2-40B4-BE49-F238E27FC236}">
                <a16:creationId xmlns:a16="http://schemas.microsoft.com/office/drawing/2014/main" id="{B29EA33E-3CF4-C357-3B7F-196B70647427}"/>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0" name="Trapezoid 9">
            <a:hlinkClick r:id="rId8" action="ppaction://hlinksldjump"/>
            <a:extLst>
              <a:ext uri="{FF2B5EF4-FFF2-40B4-BE49-F238E27FC236}">
                <a16:creationId xmlns:a16="http://schemas.microsoft.com/office/drawing/2014/main" id="{0A956682-E7D4-B3EA-64CF-BFA5A197B747}"/>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13" name="Trapezoid 12">
            <a:hlinkClick r:id="rId9" action="ppaction://hlinksldjump"/>
            <a:extLst>
              <a:ext uri="{FF2B5EF4-FFF2-40B4-BE49-F238E27FC236}">
                <a16:creationId xmlns:a16="http://schemas.microsoft.com/office/drawing/2014/main" id="{70AC0543-6FD5-AAED-D429-45348F94CD11}"/>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2" name="Trapezoid 11">
            <a:hlinkClick r:id="rId10" action="ppaction://hlinksldjump"/>
            <a:extLst>
              <a:ext uri="{FF2B5EF4-FFF2-40B4-BE49-F238E27FC236}">
                <a16:creationId xmlns:a16="http://schemas.microsoft.com/office/drawing/2014/main" id="{FDAD6904-BEE4-7515-E757-E9A38A54824C}"/>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1" name="Trapezoid 10">
            <a:hlinkClick r:id="rId11" action="ppaction://hlinksldjump"/>
            <a:extLst>
              <a:ext uri="{FF2B5EF4-FFF2-40B4-BE49-F238E27FC236}">
                <a16:creationId xmlns:a16="http://schemas.microsoft.com/office/drawing/2014/main" id="{41EED9F0-A1AF-2C03-0767-43740022B9E4}"/>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As-is Process environment</a:t>
            </a:r>
          </a:p>
        </p:txBody>
      </p:sp>
      <p:sp>
        <p:nvSpPr>
          <p:cNvPr id="14" name="Rechteck 5">
            <a:extLst>
              <a:ext uri="{FF2B5EF4-FFF2-40B4-BE49-F238E27FC236}">
                <a16:creationId xmlns:a16="http://schemas.microsoft.com/office/drawing/2014/main" id="{2F383D22-9D1D-CEDA-57A8-4BED6EB94BA8}"/>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9962428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5BC41-492A-717B-0A08-7545AD4F9D7E}"/>
              </a:ext>
            </a:extLst>
          </p:cNvPr>
          <p:cNvSpPr>
            <a:spLocks noGrp="1"/>
          </p:cNvSpPr>
          <p:nvPr>
            <p:ph type="title"/>
          </p:nvPr>
        </p:nvSpPr>
        <p:spPr/>
        <p:txBody>
          <a:bodyPr/>
          <a:lstStyle/>
          <a:p>
            <a:r>
              <a:rPr lang="en-US" dirty="0"/>
              <a:t>Production &amp; Operation Twins As-Is Data Structure</a:t>
            </a:r>
          </a:p>
        </p:txBody>
      </p:sp>
      <p:sp>
        <p:nvSpPr>
          <p:cNvPr id="3" name="Trapezoid 2">
            <a:hlinkClick r:id="rId2" action="ppaction://hlinksldjump"/>
            <a:extLst>
              <a:ext uri="{FF2B5EF4-FFF2-40B4-BE49-F238E27FC236}">
                <a16:creationId xmlns:a16="http://schemas.microsoft.com/office/drawing/2014/main" id="{CB67864B-8D96-BED7-877A-0B027C801BC0}"/>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4" name="Trapezoid 3">
            <a:hlinkClick r:id="rId3" action="ppaction://hlinksldjump"/>
            <a:extLst>
              <a:ext uri="{FF2B5EF4-FFF2-40B4-BE49-F238E27FC236}">
                <a16:creationId xmlns:a16="http://schemas.microsoft.com/office/drawing/2014/main" id="{FE7074A1-BE05-B54E-D49E-8C021FA329F4}"/>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5" name="Trapezoid 4">
            <a:hlinkClick r:id="rId4" action="ppaction://hlinksldjump"/>
            <a:extLst>
              <a:ext uri="{FF2B5EF4-FFF2-40B4-BE49-F238E27FC236}">
                <a16:creationId xmlns:a16="http://schemas.microsoft.com/office/drawing/2014/main" id="{A80EEE64-3202-65C6-EB33-4946D21E0ABA}"/>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6" name="Trapezoid 5">
            <a:hlinkClick r:id="rId5" action="ppaction://hlinksldjump"/>
            <a:extLst>
              <a:ext uri="{FF2B5EF4-FFF2-40B4-BE49-F238E27FC236}">
                <a16:creationId xmlns:a16="http://schemas.microsoft.com/office/drawing/2014/main" id="{8A24D3E9-87F6-7D40-F789-1F4299C92465}"/>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7" name="Trapezoid 6">
            <a:hlinkClick r:id="rId6" action="ppaction://hlinksldjump"/>
            <a:extLst>
              <a:ext uri="{FF2B5EF4-FFF2-40B4-BE49-F238E27FC236}">
                <a16:creationId xmlns:a16="http://schemas.microsoft.com/office/drawing/2014/main" id="{54DBA32B-E978-1C43-12BD-4EDFB3EDC10E}"/>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8" name="Trapezoid 7">
            <a:hlinkClick r:id="rId7" action="ppaction://hlinksldjump"/>
            <a:extLst>
              <a:ext uri="{FF2B5EF4-FFF2-40B4-BE49-F238E27FC236}">
                <a16:creationId xmlns:a16="http://schemas.microsoft.com/office/drawing/2014/main" id="{7960D129-9F95-C99F-326A-9CD35B7FF0BB}"/>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12" name="Trapezoid 11">
            <a:hlinkClick r:id="rId8" action="ppaction://hlinksldjump"/>
            <a:extLst>
              <a:ext uri="{FF2B5EF4-FFF2-40B4-BE49-F238E27FC236}">
                <a16:creationId xmlns:a16="http://schemas.microsoft.com/office/drawing/2014/main" id="{419E3997-4E7B-CA4F-42A7-0E4646B9C665}"/>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9" action="ppaction://hlinksldjump"/>
            <a:extLst>
              <a:ext uri="{FF2B5EF4-FFF2-40B4-BE49-F238E27FC236}">
                <a16:creationId xmlns:a16="http://schemas.microsoft.com/office/drawing/2014/main" id="{092FD0D3-20E4-58ED-A794-8BB003F4678A}"/>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10" action="ppaction://hlinksldjump"/>
            <a:extLst>
              <a:ext uri="{FF2B5EF4-FFF2-40B4-BE49-F238E27FC236}">
                <a16:creationId xmlns:a16="http://schemas.microsoft.com/office/drawing/2014/main" id="{27A0DD55-47D5-BD0D-D7D6-F49EA28302C4}"/>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11" action="ppaction://hlinksldjump"/>
            <a:extLst>
              <a:ext uri="{FF2B5EF4-FFF2-40B4-BE49-F238E27FC236}">
                <a16:creationId xmlns:a16="http://schemas.microsoft.com/office/drawing/2014/main" id="{DB24D12C-92DE-65F6-ABB7-F03754384AA2}"/>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As-is Data Structure</a:t>
            </a:r>
          </a:p>
        </p:txBody>
      </p:sp>
      <p:sp>
        <p:nvSpPr>
          <p:cNvPr id="13" name="Rechteck 5">
            <a:extLst>
              <a:ext uri="{FF2B5EF4-FFF2-40B4-BE49-F238E27FC236}">
                <a16:creationId xmlns:a16="http://schemas.microsoft.com/office/drawing/2014/main" id="{CEED2032-CC7D-8F9B-A7D0-04DCCEAF831F}"/>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3175541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9748B-3222-4F33-BF42-DE3DA2E36E34}"/>
              </a:ext>
            </a:extLst>
          </p:cNvPr>
          <p:cNvSpPr>
            <a:spLocks noGrp="1"/>
          </p:cNvSpPr>
          <p:nvPr>
            <p:ph type="title"/>
          </p:nvPr>
        </p:nvSpPr>
        <p:spPr/>
        <p:txBody>
          <a:bodyPr/>
          <a:lstStyle/>
          <a:p>
            <a:r>
              <a:rPr lang="en-US" dirty="0"/>
              <a:t>Production &amp; Operation Twins Target Process</a:t>
            </a:r>
          </a:p>
        </p:txBody>
      </p:sp>
      <p:sp>
        <p:nvSpPr>
          <p:cNvPr id="3" name="Trapezoid 2">
            <a:hlinkClick r:id="rId2" action="ppaction://hlinksldjump"/>
            <a:extLst>
              <a:ext uri="{FF2B5EF4-FFF2-40B4-BE49-F238E27FC236}">
                <a16:creationId xmlns:a16="http://schemas.microsoft.com/office/drawing/2014/main" id="{8FD1227A-0313-65B7-A49D-490794B5B7F4}"/>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4" name="Trapezoid 3">
            <a:hlinkClick r:id="rId3" action="ppaction://hlinksldjump"/>
            <a:extLst>
              <a:ext uri="{FF2B5EF4-FFF2-40B4-BE49-F238E27FC236}">
                <a16:creationId xmlns:a16="http://schemas.microsoft.com/office/drawing/2014/main" id="{9179B57F-8CF5-9102-E3D3-E5A8DFDB125F}"/>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5" name="Trapezoid 4">
            <a:hlinkClick r:id="rId4" action="ppaction://hlinksldjump"/>
            <a:extLst>
              <a:ext uri="{FF2B5EF4-FFF2-40B4-BE49-F238E27FC236}">
                <a16:creationId xmlns:a16="http://schemas.microsoft.com/office/drawing/2014/main" id="{E6085C2E-1DF7-DDC7-07A5-7821B48C6D04}"/>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6" name="Trapezoid 5">
            <a:hlinkClick r:id="rId5" action="ppaction://hlinksldjump"/>
            <a:extLst>
              <a:ext uri="{FF2B5EF4-FFF2-40B4-BE49-F238E27FC236}">
                <a16:creationId xmlns:a16="http://schemas.microsoft.com/office/drawing/2014/main" id="{661ED923-4331-BDF8-CD33-90587D6229CA}"/>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7" name="Trapezoid 6">
            <a:hlinkClick r:id="rId6" action="ppaction://hlinksldjump"/>
            <a:extLst>
              <a:ext uri="{FF2B5EF4-FFF2-40B4-BE49-F238E27FC236}">
                <a16:creationId xmlns:a16="http://schemas.microsoft.com/office/drawing/2014/main" id="{2E42FB53-718E-DF40-3B43-8950435DFC5D}"/>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12" name="Trapezoid 11">
            <a:hlinkClick r:id="rId7" action="ppaction://hlinksldjump"/>
            <a:extLst>
              <a:ext uri="{FF2B5EF4-FFF2-40B4-BE49-F238E27FC236}">
                <a16:creationId xmlns:a16="http://schemas.microsoft.com/office/drawing/2014/main" id="{42A5C223-3B09-FF68-0B32-92CFD00B67F4}"/>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8" action="ppaction://hlinksldjump"/>
            <a:extLst>
              <a:ext uri="{FF2B5EF4-FFF2-40B4-BE49-F238E27FC236}">
                <a16:creationId xmlns:a16="http://schemas.microsoft.com/office/drawing/2014/main" id="{742257F6-8BF4-21D4-2C43-99B06E274146}"/>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9" action="ppaction://hlinksldjump"/>
            <a:extLst>
              <a:ext uri="{FF2B5EF4-FFF2-40B4-BE49-F238E27FC236}">
                <a16:creationId xmlns:a16="http://schemas.microsoft.com/office/drawing/2014/main" id="{51233998-A407-E5F7-48D9-B6296AC7CE46}"/>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10" action="ppaction://hlinksldjump"/>
            <a:extLst>
              <a:ext uri="{FF2B5EF4-FFF2-40B4-BE49-F238E27FC236}">
                <a16:creationId xmlns:a16="http://schemas.microsoft.com/office/drawing/2014/main" id="{5BCEEF58-6A0E-D8A1-D753-52E89C1ACB05}"/>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11" action="ppaction://hlinksldjump"/>
            <a:extLst>
              <a:ext uri="{FF2B5EF4-FFF2-40B4-BE49-F238E27FC236}">
                <a16:creationId xmlns:a16="http://schemas.microsoft.com/office/drawing/2014/main" id="{749FC6BF-6507-8DFF-20E1-A297692431EB}"/>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Target Process</a:t>
            </a:r>
          </a:p>
        </p:txBody>
      </p:sp>
      <p:sp>
        <p:nvSpPr>
          <p:cNvPr id="13" name="Rechteck 5">
            <a:extLst>
              <a:ext uri="{FF2B5EF4-FFF2-40B4-BE49-F238E27FC236}">
                <a16:creationId xmlns:a16="http://schemas.microsoft.com/office/drawing/2014/main" id="{B77E14AC-9FDF-57DD-4A89-7B7FBDE3D56B}"/>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2735200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E2514-49AF-C8FD-590B-93CD082FD481}"/>
              </a:ext>
            </a:extLst>
          </p:cNvPr>
          <p:cNvSpPr>
            <a:spLocks noGrp="1"/>
          </p:cNvSpPr>
          <p:nvPr>
            <p:ph type="title"/>
          </p:nvPr>
        </p:nvSpPr>
        <p:spPr/>
        <p:txBody>
          <a:bodyPr/>
          <a:lstStyle/>
          <a:p>
            <a:r>
              <a:rPr lang="en-US" dirty="0"/>
              <a:t>Production &amp; Operation Twins Target Process Environment</a:t>
            </a:r>
          </a:p>
        </p:txBody>
      </p:sp>
      <p:sp>
        <p:nvSpPr>
          <p:cNvPr id="3" name="Trapezoid 2">
            <a:hlinkClick r:id="rId2" action="ppaction://hlinksldjump"/>
            <a:extLst>
              <a:ext uri="{FF2B5EF4-FFF2-40B4-BE49-F238E27FC236}">
                <a16:creationId xmlns:a16="http://schemas.microsoft.com/office/drawing/2014/main" id="{D45FA000-3C29-3D43-88C6-59D66E4C8F97}"/>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4" name="Trapezoid 3">
            <a:hlinkClick r:id="rId3" action="ppaction://hlinksldjump"/>
            <a:extLst>
              <a:ext uri="{FF2B5EF4-FFF2-40B4-BE49-F238E27FC236}">
                <a16:creationId xmlns:a16="http://schemas.microsoft.com/office/drawing/2014/main" id="{5ECC504A-8E18-2B87-C314-8BAAE162FE54}"/>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5" name="Trapezoid 4">
            <a:hlinkClick r:id="rId4" action="ppaction://hlinksldjump"/>
            <a:extLst>
              <a:ext uri="{FF2B5EF4-FFF2-40B4-BE49-F238E27FC236}">
                <a16:creationId xmlns:a16="http://schemas.microsoft.com/office/drawing/2014/main" id="{F17015BC-AFEB-17BC-597D-0CDA06AAF888}"/>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6" name="Trapezoid 5">
            <a:hlinkClick r:id="rId5" action="ppaction://hlinksldjump"/>
            <a:extLst>
              <a:ext uri="{FF2B5EF4-FFF2-40B4-BE49-F238E27FC236}">
                <a16:creationId xmlns:a16="http://schemas.microsoft.com/office/drawing/2014/main" id="{F6687BB5-3D53-0597-AAA8-AFBFED8B31B4}"/>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Data Structure</a:t>
            </a:r>
          </a:p>
        </p:txBody>
      </p:sp>
      <p:sp>
        <p:nvSpPr>
          <p:cNvPr id="12" name="Trapezoid 11">
            <a:hlinkClick r:id="rId6" action="ppaction://hlinksldjump"/>
            <a:extLst>
              <a:ext uri="{FF2B5EF4-FFF2-40B4-BE49-F238E27FC236}">
                <a16:creationId xmlns:a16="http://schemas.microsoft.com/office/drawing/2014/main" id="{6B58154B-5DFB-2AC4-8AB8-36B32A1BC898}"/>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7" action="ppaction://hlinksldjump"/>
            <a:extLst>
              <a:ext uri="{FF2B5EF4-FFF2-40B4-BE49-F238E27FC236}">
                <a16:creationId xmlns:a16="http://schemas.microsoft.com/office/drawing/2014/main" id="{400BEE45-5C8C-FCD8-7D5E-996143627F91}"/>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8" action="ppaction://hlinksldjump"/>
            <a:extLst>
              <a:ext uri="{FF2B5EF4-FFF2-40B4-BE49-F238E27FC236}">
                <a16:creationId xmlns:a16="http://schemas.microsoft.com/office/drawing/2014/main" id="{A3E4E0A0-2D45-21C2-1857-32A15662C346}"/>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9" action="ppaction://hlinksldjump"/>
            <a:extLst>
              <a:ext uri="{FF2B5EF4-FFF2-40B4-BE49-F238E27FC236}">
                <a16:creationId xmlns:a16="http://schemas.microsoft.com/office/drawing/2014/main" id="{9D6420FC-0A38-E77E-A2AB-04B761C4A972}"/>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10" action="ppaction://hlinksldjump"/>
            <a:extLst>
              <a:ext uri="{FF2B5EF4-FFF2-40B4-BE49-F238E27FC236}">
                <a16:creationId xmlns:a16="http://schemas.microsoft.com/office/drawing/2014/main" id="{FD1B1259-CFD4-9CF1-9868-609267493A53}"/>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11" action="ppaction://hlinksldjump"/>
            <a:extLst>
              <a:ext uri="{FF2B5EF4-FFF2-40B4-BE49-F238E27FC236}">
                <a16:creationId xmlns:a16="http://schemas.microsoft.com/office/drawing/2014/main" id="{2F73F65F-BCA5-8CFE-562A-E2AC648CFB6C}"/>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Target Environment</a:t>
            </a:r>
          </a:p>
        </p:txBody>
      </p:sp>
      <p:sp>
        <p:nvSpPr>
          <p:cNvPr id="13" name="Rechteck 5">
            <a:extLst>
              <a:ext uri="{FF2B5EF4-FFF2-40B4-BE49-F238E27FC236}">
                <a16:creationId xmlns:a16="http://schemas.microsoft.com/office/drawing/2014/main" id="{0CD643FE-91C2-EE03-E98F-7068D2372CD9}"/>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35941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3C2EB-6CC8-8100-F1D9-EAF895E4FA9F}"/>
              </a:ext>
            </a:extLst>
          </p:cNvPr>
          <p:cNvSpPr>
            <a:spLocks noGrp="1"/>
          </p:cNvSpPr>
          <p:nvPr>
            <p:ph type="title"/>
          </p:nvPr>
        </p:nvSpPr>
        <p:spPr/>
        <p:txBody>
          <a:bodyPr/>
          <a:lstStyle/>
          <a:p>
            <a:r>
              <a:rPr lang="en-US" dirty="0"/>
              <a:t>Production &amp; Operation Twins Target Data-Structure</a:t>
            </a:r>
          </a:p>
        </p:txBody>
      </p:sp>
      <p:sp>
        <p:nvSpPr>
          <p:cNvPr id="3" name="Trapezoid 2">
            <a:hlinkClick r:id="rId2" action="ppaction://hlinksldjump"/>
            <a:extLst>
              <a:ext uri="{FF2B5EF4-FFF2-40B4-BE49-F238E27FC236}">
                <a16:creationId xmlns:a16="http://schemas.microsoft.com/office/drawing/2014/main" id="{0BE8DF47-52AE-3282-C89D-9DC6F86555E8}"/>
              </a:ext>
            </a:extLst>
          </p:cNvPr>
          <p:cNvSpPr>
            <a:spLocks noGrp="1" noRot="1" noMove="1" noResize="1" noEditPoints="1" noAdjustHandles="1" noChangeArrowheads="1" noChangeShapeType="1"/>
          </p:cNvSpPr>
          <p:nvPr/>
        </p:nvSpPr>
        <p:spPr>
          <a:xfrm>
            <a:off x="783543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urther Info</a:t>
            </a:r>
          </a:p>
        </p:txBody>
      </p:sp>
      <p:sp>
        <p:nvSpPr>
          <p:cNvPr id="4" name="Trapezoid 3">
            <a:hlinkClick r:id="rId3" action="ppaction://hlinksldjump"/>
            <a:extLst>
              <a:ext uri="{FF2B5EF4-FFF2-40B4-BE49-F238E27FC236}">
                <a16:creationId xmlns:a16="http://schemas.microsoft.com/office/drawing/2014/main" id="{42EED077-5DC3-1337-499D-48B0DB704C3B}"/>
              </a:ext>
            </a:extLst>
          </p:cNvPr>
          <p:cNvSpPr>
            <a:spLocks noGrp="1" noRot="1" noMove="1" noResize="1" noEditPoints="1" noAdjustHandles="1" noChangeArrowheads="1" noChangeShapeType="1"/>
          </p:cNvSpPr>
          <p:nvPr/>
        </p:nvSpPr>
        <p:spPr>
          <a:xfrm>
            <a:off x="7273405" y="0"/>
            <a:ext cx="679700"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oad-map</a:t>
            </a:r>
          </a:p>
        </p:txBody>
      </p:sp>
      <p:sp>
        <p:nvSpPr>
          <p:cNvPr id="5" name="Trapezoid 4">
            <a:hlinkClick r:id="rId4" action="ppaction://hlinksldjump"/>
            <a:extLst>
              <a:ext uri="{FF2B5EF4-FFF2-40B4-BE49-F238E27FC236}">
                <a16:creationId xmlns:a16="http://schemas.microsoft.com/office/drawing/2014/main" id="{556D172A-C58D-AF41-CB73-A58084640590}"/>
              </a:ext>
            </a:extLst>
          </p:cNvPr>
          <p:cNvSpPr>
            <a:spLocks noGrp="1" noRot="1" noMove="1" noResize="1" noEditPoints="1" noAdjustHandles="1" noChangeArrowheads="1" noChangeShapeType="1"/>
          </p:cNvSpPr>
          <p:nvPr/>
        </p:nvSpPr>
        <p:spPr>
          <a:xfrm>
            <a:off x="6641520" y="0"/>
            <a:ext cx="74955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usiness Model</a:t>
            </a:r>
          </a:p>
        </p:txBody>
      </p:sp>
      <p:sp>
        <p:nvSpPr>
          <p:cNvPr id="12" name="Trapezoid 11">
            <a:hlinkClick r:id="rId5" action="ppaction://hlinksldjump"/>
            <a:extLst>
              <a:ext uri="{FF2B5EF4-FFF2-40B4-BE49-F238E27FC236}">
                <a16:creationId xmlns:a16="http://schemas.microsoft.com/office/drawing/2014/main" id="{F1FCAB31-6531-7B49-A9C2-5E832A45BA2D}"/>
              </a:ext>
            </a:extLst>
          </p:cNvPr>
          <p:cNvSpPr>
            <a:spLocks noGrp="1" noRot="1" noMove="1" noResize="1" noEditPoints="1" noAdjustHandles="1" noChangeArrowheads="1" noChangeShapeType="1"/>
          </p:cNvSpPr>
          <p:nvPr/>
        </p:nvSpPr>
        <p:spPr>
          <a:xfrm>
            <a:off x="1620063" y="0"/>
            <a:ext cx="789777"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black"/>
                </a:solidFill>
                <a:latin typeface="Arial"/>
              </a:rPr>
              <a:t>Overview</a:t>
            </a:r>
          </a:p>
        </p:txBody>
      </p:sp>
      <p:sp>
        <p:nvSpPr>
          <p:cNvPr id="11" name="Trapezoid 10">
            <a:hlinkClick r:id="rId6" action="ppaction://hlinksldjump"/>
            <a:extLst>
              <a:ext uri="{FF2B5EF4-FFF2-40B4-BE49-F238E27FC236}">
                <a16:creationId xmlns:a16="http://schemas.microsoft.com/office/drawing/2014/main" id="{900D34B4-647F-219A-C39A-1284DD8B0AA6}"/>
              </a:ext>
            </a:extLst>
          </p:cNvPr>
          <p:cNvSpPr>
            <a:spLocks noGrp="1" noRot="1" noMove="1" noResize="1" noEditPoints="1" noAdjustHandles="1" noChangeArrowheads="1" noChangeShapeType="1"/>
          </p:cNvSpPr>
          <p:nvPr/>
        </p:nvSpPr>
        <p:spPr>
          <a:xfrm>
            <a:off x="2292173" y="0"/>
            <a:ext cx="70797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a:t>
            </a:r>
          </a:p>
        </p:txBody>
      </p:sp>
      <p:sp>
        <p:nvSpPr>
          <p:cNvPr id="10" name="Trapezoid 9">
            <a:hlinkClick r:id="rId7" action="ppaction://hlinksldjump"/>
            <a:extLst>
              <a:ext uri="{FF2B5EF4-FFF2-40B4-BE49-F238E27FC236}">
                <a16:creationId xmlns:a16="http://schemas.microsoft.com/office/drawing/2014/main" id="{3C7D1CC8-00C2-714F-4B6D-245632DA8015}"/>
              </a:ext>
            </a:extLst>
          </p:cNvPr>
          <p:cNvSpPr>
            <a:spLocks noGrp="1" noRot="1" noMove="1" noResize="1" noEditPoints="1" noAdjustHandles="1" noChangeArrowheads="1" noChangeShapeType="1"/>
          </p:cNvSpPr>
          <p:nvPr/>
        </p:nvSpPr>
        <p:spPr>
          <a:xfrm>
            <a:off x="2882480" y="0"/>
            <a:ext cx="979509"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Process environment</a:t>
            </a:r>
          </a:p>
        </p:txBody>
      </p:sp>
      <p:sp>
        <p:nvSpPr>
          <p:cNvPr id="9" name="Trapezoid 8">
            <a:hlinkClick r:id="rId8" action="ppaction://hlinksldjump"/>
            <a:extLst>
              <a:ext uri="{FF2B5EF4-FFF2-40B4-BE49-F238E27FC236}">
                <a16:creationId xmlns:a16="http://schemas.microsoft.com/office/drawing/2014/main" id="{0CC3794E-BF7A-5BC9-0FB0-12E53998DA3A}"/>
              </a:ext>
            </a:extLst>
          </p:cNvPr>
          <p:cNvSpPr>
            <a:spLocks noGrp="1" noRot="1" noMove="1" noResize="1" noEditPoints="1" noAdjustHandles="1" noChangeArrowheads="1" noChangeShapeType="1"/>
          </p:cNvSpPr>
          <p:nvPr/>
        </p:nvSpPr>
        <p:spPr>
          <a:xfrm>
            <a:off x="3744322" y="0"/>
            <a:ext cx="812932"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As-is Data Structure</a:t>
            </a:r>
          </a:p>
        </p:txBody>
      </p:sp>
      <p:sp>
        <p:nvSpPr>
          <p:cNvPr id="8" name="Trapezoid 7">
            <a:hlinkClick r:id="rId9" action="ppaction://hlinksldjump"/>
            <a:extLst>
              <a:ext uri="{FF2B5EF4-FFF2-40B4-BE49-F238E27FC236}">
                <a16:creationId xmlns:a16="http://schemas.microsoft.com/office/drawing/2014/main" id="{9C9E7CB3-9025-0A93-6A05-43C5F486F220}"/>
              </a:ext>
            </a:extLst>
          </p:cNvPr>
          <p:cNvSpPr>
            <a:spLocks noGrp="1" noRot="1" noMove="1" noResize="1" noEditPoints="1" noAdjustHandles="1" noChangeArrowheads="1" noChangeShapeType="1"/>
          </p:cNvSpPr>
          <p:nvPr/>
        </p:nvSpPr>
        <p:spPr>
          <a:xfrm>
            <a:off x="4439587" y="0"/>
            <a:ext cx="696506"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Process</a:t>
            </a:r>
          </a:p>
        </p:txBody>
      </p:sp>
      <p:sp>
        <p:nvSpPr>
          <p:cNvPr id="7" name="Trapezoid 6">
            <a:hlinkClick r:id="rId10" action="ppaction://hlinksldjump"/>
            <a:extLst>
              <a:ext uri="{FF2B5EF4-FFF2-40B4-BE49-F238E27FC236}">
                <a16:creationId xmlns:a16="http://schemas.microsoft.com/office/drawing/2014/main" id="{C345D719-74CB-FC2B-B220-41F43A3B3CB4}"/>
              </a:ext>
            </a:extLst>
          </p:cNvPr>
          <p:cNvSpPr>
            <a:spLocks noGrp="1" noRot="1" noMove="1" noResize="1" noEditPoints="1" noAdjustHandles="1" noChangeArrowheads="1" noChangeShapeType="1"/>
          </p:cNvSpPr>
          <p:nvPr/>
        </p:nvSpPr>
        <p:spPr>
          <a:xfrm>
            <a:off x="5018426" y="0"/>
            <a:ext cx="929214" cy="378000"/>
          </a:xfrm>
          <a:prstGeom prst="trapezoid">
            <a:avLst/>
          </a:prstGeom>
          <a:solidFill>
            <a:schemeClr val="bg1">
              <a:lumMod val="85000"/>
            </a:schemeClr>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14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arget Environment</a:t>
            </a:r>
          </a:p>
        </p:txBody>
      </p:sp>
      <p:sp>
        <p:nvSpPr>
          <p:cNvPr id="6" name="Trapezoid 5">
            <a:hlinkClick r:id="rId11" action="ppaction://hlinksldjump"/>
            <a:extLst>
              <a:ext uri="{FF2B5EF4-FFF2-40B4-BE49-F238E27FC236}">
                <a16:creationId xmlns:a16="http://schemas.microsoft.com/office/drawing/2014/main" id="{DB47DC5C-ADD7-5CA2-57D3-858036F46471}"/>
              </a:ext>
            </a:extLst>
          </p:cNvPr>
          <p:cNvSpPr>
            <a:spLocks noGrp="1" noRot="1" noMove="1" noResize="1" noEditPoints="1" noAdjustHandles="1" noChangeArrowheads="1" noChangeShapeType="1"/>
          </p:cNvSpPr>
          <p:nvPr/>
        </p:nvSpPr>
        <p:spPr>
          <a:xfrm>
            <a:off x="5829973" y="0"/>
            <a:ext cx="929214" cy="378000"/>
          </a:xfrm>
          <a:prstGeom prst="trapezoid">
            <a:avLst/>
          </a:prstGeom>
          <a:solidFill>
            <a:schemeClr val="tx2"/>
          </a:solidFill>
          <a:ln w="12700">
            <a:solidFill>
              <a:schemeClr val="bg1">
                <a:lumMod val="95000"/>
              </a:schemeClr>
            </a:solidFill>
          </a:ln>
          <a:effectLst>
            <a:outerShdw blurRad="50800" dist="127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773" tIns="38386" rIns="76773" bIns="38386" numCol="1" spcCol="0" rtlCol="0" fromWordArt="0" anchor="ctr" anchorCtr="0" forceAA="0" compatLnSpc="1">
            <a:prstTxWarp prst="textNoShape">
              <a:avLst/>
            </a:prstTxWarp>
            <a:noAutofit/>
          </a:bodyPr>
          <a:lstStyle/>
          <a:p>
            <a:pPr algn="ctr">
              <a:lnSpc>
                <a:spcPct val="114000"/>
              </a:lnSpc>
            </a:pPr>
            <a:r>
              <a:rPr lang="en-US" sz="900" dirty="0">
                <a:solidFill>
                  <a:prstClr val="white"/>
                </a:solidFill>
                <a:latin typeface="Arial"/>
              </a:rPr>
              <a:t>Target Data Structure</a:t>
            </a:r>
          </a:p>
        </p:txBody>
      </p:sp>
      <p:sp>
        <p:nvSpPr>
          <p:cNvPr id="13" name="Rechteck 5">
            <a:extLst>
              <a:ext uri="{FF2B5EF4-FFF2-40B4-BE49-F238E27FC236}">
                <a16:creationId xmlns:a16="http://schemas.microsoft.com/office/drawing/2014/main" id="{DD6F4236-24A7-4683-6198-85633B22CAC3}"/>
              </a:ext>
            </a:extLst>
          </p:cNvPr>
          <p:cNvSpPr/>
          <p:nvPr/>
        </p:nvSpPr>
        <p:spPr>
          <a:xfrm>
            <a:off x="0" y="377097"/>
            <a:ext cx="9144000" cy="4766402"/>
          </a:xfrm>
          <a:prstGeom prst="rect">
            <a:avLst/>
          </a:prstGeom>
          <a:noFill/>
          <a:ln w="12700">
            <a:solidFill>
              <a:schemeClr val="bg1">
                <a:lumMod val="95000"/>
              </a:schemeClr>
            </a:solid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773" tIns="38386" rIns="76773" bIns="38386"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868134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Line Circle&quot; id=&quot;1_6&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8&quot; topMaxSpacing=&quot;15&quot; bottomMinSpacing=&quot;0&quot; bottomMaxSpacing=&quot;0&quot;&gt;&lt;element field=&quot;itemno&quot; type=&quot;autoshape&quot; autoShapeType=&quot;9&quot; indent=&quot;(level-1)*36.50472*scale*fontScale&quot; indentType=&quot;1&quot;&gt;&lt;position height=&quot;itemSingleHeight&quot; top=&quot;(itemHeight-itemSingleHeight)/2&quot; /&gt;&lt;textframe marginLeft=&quot;6&quot; marginRight=&quot;6&quot; verticalAnchor=&quot;3&quot; /&gt;&lt;paragraphformat alignment=&quot;2&quot; /&gt;&lt;fill foreColor=&quot;#D9D9D9&quot; visible=&quot;1&quot; /&gt;&lt;font bold=&quot;1&quot; color=&quot;13&quot; /&gt;&lt;/element&gt;&lt;element field=&quot;topic&quot; type=&quot;autoshape&quot; autoShapeType=&quot;1&quot; indent=&quot;(level-1)*36.50472*scale*fontScale&quot; indentType=&quot;2&quot;&gt;&lt;paragraphformat alignment=&quot;1&quot; /&gt;&lt;textframe marginLeft=&quot;6&quot; /&gt;&lt;/element&gt;&lt;element field=&quot;responsible&quot; type=&quot;autoshape&quot; autoShapeType=&quot;1&quot; indent=&quot;(level-1)*36.50472*scale*fontScale&quot; indentType=&quot;1&quot;&gt;&lt;paragraphformat alignment=&quot;1&quot; /&gt;&lt;/element&gt;&lt;element field=&quot;freecolumn&quot; type=&quot;autoshape&quot; autoShapeType=&quot;1&quot; indent=&quot;(level-1)*36.50472*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8&quot; topMaxSpacing=&quot;15&quot; bottomMinSpacing=&quot;0&quot; bottomMaxSpacing=&quot;0&quot;&gt;&lt;element type=&quot;line&quot; value=&quot;&quot;&gt;&lt;position left=&quot;level*(itemSingleHeight+topicLeftSpacing)&quot; top=&quot;itemHeight&quot; width=&quot;agendaWidth-topicLeftSpacing-itemNoWidth-(level-1)*36.50472*scale*fontScale&quot; height=&quot;0&quot; /&gt;&lt;line style=&quot;1&quot; dashStyle=&quot;3&quot; foreColor=&quot;5&quot; transparency=&quot;0&quot; visible=&quot;1&quot; weight=&quot;1.5&quot; /&gt;&lt;/element&gt;&lt;element type=&quot;line&quot; value=&quot;&quot;&gt;&lt;position left=&quot;level*(itemSingleHeight+topicLeftSpacing)&quot; top=&quot;0&quot; width=&quot;agendaWidth-topicLeftSpacing-itemNoWidth-(level-1)*36.50472*scale*fontScale&quot; height=&quot;0&quot; /&gt;&lt;line style=&quot;1&quot; dashStyle=&quot;3&quot; foreColor=&quot;5&quot; transparency=&quot;0&quot; visible=&quot;1&quot; weight=&quot;1.5&quot; /&gt;&lt;/element&gt;&lt;element field=&quot;itemno&quot; type=&quot;autoshape&quot; autoShapeType=&quot;9&quot; indent=&quot;(level-1)*36.50472*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36.50472*scale*fontScale&quot; indentType=&quot;2&quot;&gt;&lt;paragraphformat alignment=&quot;1&quot; /&gt;&lt;font bold=&quot;1&quot; /&gt;&lt;textframe marginLeft=&quot;6&quot; /&gt;&lt;/element&gt;&lt;element field=&quot;responsible&quot; type=&quot;autoshape&quot; autoShapeType=&quot;1&quot; indent=&quot;(level-1)*36.50472*scale*fontScale&quot; indentType=&quot;1&quot;&gt;&lt;paragraphformat alignment=&quot;1&quot; /&gt;&lt;font bold=&quot;1&quot; /&gt;&lt;/element&gt;&lt;element field=&quot;freecolumn&quot; type=&quot;autoshape&quot; autoShapeType=&quot;1&quot; indent=&quot;(level-1)*36.50472*scale*fontScale&quot; indentType=&quot;1&quot;&gt;&lt;paragraphformat alignment=&quot;1&quot; /&gt;&lt;font bold=&quot;1&quot; /&gt;&lt;/element&gt;&lt;element field=&quot;timeslot&quot; type=&quot;autoshape&quot; autoShapeType=&quot;1&quot;&gt;&lt;paragraphformat alignment=&quot;1&quot; /&gt;&lt;font bold=&quot;1&quot; /&gt;&lt;/element&gt;&lt;element field=&quot;pageno&quot; type=&quot;autoshape&quot; autoShapeType=&quot;1&quot;&gt;&lt;paragraphformat alignment=&quot;3&quot; /&gt;&lt;font bold=&quot;1&quot; /&gt;&lt;/element&gt;&lt;/case&gt;&lt;case level=&quot;1&quot; selected=&quot;0&quot; break=&quot;1&quot; topMinSpacing=&quot;8&quot; topMaxSpacing=&quot;15&quot; bottomMinSpacing=&quot;0&quot; bottomMaxSpacing=&quot;0&quot;&gt;&lt;element field=&quot;topic&quot; type=&quot;autoshape&quot; autoShapeType=&quot;1&quot; indent=&quot;(level-1)*36.50472*scale*fontScale&quot; indentType=&quot;2&quot;&gt;&lt;paragraphformat alignment=&quot;1&quot; /&gt;&lt;textframe marginLeft=&quot;6&quot; /&gt;&lt;font italic=&quot;1&quot; /&gt;&lt;/element&gt;&lt;element field=&quot;responsible&quot; type=&quot;autoshape&quot; autoShapeType=&quot;1&quot; indent=&quot;(level-1)*36.50472*scale*fontScale&quot; indentType=&quot;1&quot;&gt;&lt;paragraphformat alignment=&quot;1&quot; /&gt;&lt;font italic=&quot;1&quot; /&gt;&lt;/element&gt;&lt;element field=&quot;freecolumn&quot; type=&quot;autoshape&quot; autoShapeType=&quot;1&quot; indent=&quot;(level-1)*36.50472*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8&quot; topMaxSpacing=&quot;15&quot; bottomMinSpacing=&quot;0&quot; bottomMaxSpacing=&quot;0&quot;&gt;&lt;element type=&quot;line&quot; value=&quot;&quot;&gt;&lt;position left=&quot;level*(itemSingleHeight+topicLeftSpacing)&quot; top=&quot;itemHeight&quot; width=&quot;agendaWidth-topicLeftSpacing-itemNoWidth-(level-1)*36.50472*scale*fontScale&quot; height=&quot;0&quot; /&gt;&lt;line style=&quot;1&quot; dashStyle=&quot;3&quot; foreColor=&quot;5&quot; transparency=&quot;0&quot; visible=&quot;1&quot; weight=&quot;1.5&quot; /&gt;&lt;/element&gt;&lt;element type=&quot;line&quot; value=&quot;&quot;&gt;&lt;position left=&quot;level*(itemSingleHeight+topicLeftSpacing)&quot; top=&quot;0&quot; width=&quot;agendaWidth-topicLeftSpacing-itemNoWidth-(level-1)*36.50472*scale*fontScale&quot; height=&quot;0&quot; /&gt;&lt;line style=&quot;1&quot; dashStyle=&quot;3&quot; foreColor=&quot;5&quot; transparency=&quot;0&quot; visible=&quot;1&quot; weight=&quot;1.5&quot; /&gt;&lt;/element&gt;&lt;element field=&quot;topic&quot; type=&quot;autoshape&quot; autoShapeType=&quot;1&quot; indent=&quot;(level-1)*36.50472*scale*fontScale&quot; indentType=&quot;2&quot;&gt;&lt;paragraphformat alignment=&quot;1&quot; /&gt;&lt;font bold=&quot;1&quot; italic=&quot;1&quot; /&gt;&lt;textframe marginLeft=&quot;6&quot; /&gt;&lt;/element&gt;&lt;element field=&quot;responsible&quot; type=&quot;autoshape&quot; autoShapeType=&quot;1&quot; indent=&quot;(level-1)*36.50472*scale*fontScale&quot; indentType=&quot;1&quot;&gt;&lt;paragraphformat alignment=&quot;1&quot; /&gt;&lt;font bold=&quot;1&quot; italic=&quot;1&quot; /&gt;&lt;/element&gt;&lt;element field=&quot;freecolumn&quot; type=&quot;autoshape&quot; autoShapeType=&quot;1&quot; indent=&quot;(level-1)*36.50472*scale*fontScale&quot; indentType=&quot;1&quot;&gt;&lt;paragraphformat alignment=&quot;1&quot; /&gt;&lt;font bold=&quot;1&quot; italic=&quot;1&quot; /&gt;&lt;/element&gt;&lt;element field=&quot;timeslot&quot; type=&quot;autoshape&quot; autoShapeType=&quot;1&quot;&gt;&lt;paragraphformat alignment=&quot;1&quot; /&gt;&lt;font bold=&quot;1&quot; italic=&quot;1&quot; /&gt;&lt;/element&gt;&lt;element field=&quot;pageno&quot; type=&quot;autoshape&quot; autoShapeType=&quot;1&quot;&gt;&lt;paragraphformat alignment=&quot;3&quot; /&gt;&lt;font bold=&quot;1&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Agenda&quot; title=&quot;Agenda&quot; subtitle=&quot;&quot; sizingModeId=&quot;2&quot; fontSize=&quot;12&quot; fontSizeAuto=&quot;0&quot; startTime=&quot;615&quot; timeFormatId=&quot;1&quot; startItemNo=&quot;1&quot; createSingleAgendaSlide=&quot;1&quot; createSeparatingSlides=&quot;1&quot; createBackupSlide=&quot;0&quot; layoutId=&quot;1_6&quot; createSections=&quot;1&quot; singleSlideId=&quot;8951245c-43f6-46b6-9dbd-a0889f01192a&quot; backupSlideId=&quot;&quot; backupSectionId=&quot;&quot;&gt;&lt;columns&gt;&lt;column field=&quot;itemno&quot; label=&quot;No.&quot; checked=&quot;1&quot; leftSpacing=&quot;0&quot; rightSpacing=&quot;0&quot; dock=&quot;1&quot; fixedWidth=&quot;31.50472&quot; /&gt;&lt;column field=&quot;topic&quot; label=&quot;Topic&quot; leftSpacing=&quot;3.75&quot; rightDistribute=&quot;1&quot; dock=&quot;1&quot; rightSpacing=&quot;591.172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b902817a-0297-436e-b192-26eb5eb57ffd&quot; parentId=&quot;&quot; level=&quot;1&quot; generateAgendaSlide=&quot;1&quot; showAgendaItem=&quot;1&quot; isBreak=&quot;0&quot; itemNo=&quot;0&quot; subItemNo=&quot;0&quot; topic=&quot;TOP 1&quot; agendaSlideId=&quot;3adb9803-c5d7-4206-bf87-d5e04a0cde57&quot; sectionId=&quot;{54B8EAA6-CACF-4950-9AAE-485A5321728C}&quot; /&gt;&lt;item duration=&quot;30&quot; id=&quot;1d6a0cdb-62c5-4b13-bed5-5bfc480c19cd&quot; parentId=&quot;&quot; level=&quot;1&quot; generateAgendaSlide=&quot;1&quot; showAgendaItem=&quot;1&quot; isBreak=&quot;0&quot; itemNo=&quot;1&quot; subItemNo=&quot;0&quot; topic=&quot;TOP 2&quot; agendaSlideId=&quot;b7d4c3b1-4cc8-479a-a48a-ca54829439eb&quot; sectionId=&quot;{308064E2-2361-41CB-B8D2-0190BF9FB696}&quot; /&gt;&lt;item duration=&quot;30&quot; id=&quot;444e5c9d-ca48-489a-9419-6ab51e2ac526&quot; parentId=&quot;&quot; level=&quot;1&quot; generateAgendaSlide=&quot;1&quot; showAgendaItem=&quot;1&quot; isBreak=&quot;0&quot; itemNo=&quot;3&quot; subItemNo=&quot;0&quot; topic=&quot;TOP 3&quot; agendaSlideId=&quot;9a941f32-a13b-41a4-924a-dbf06d18bce3&quot; sectionId=&quot;{A1A1615B-7486-402C-B2F4-C6D004173741}&quot; /&gt;&lt;/items&gt;&lt;/agenda&gt;&lt;/contents&gt;&lt;/ee4p&gt;"/>
  <p:tag name="THINKCELLUNDODONOTDELETE" val="0"/>
  <p:tag name="EE4P_STYLE_ID" val="73666fa3-d140-48c4-ba0c-eab8139be01b"/>
</p:tagLst>
</file>

<file path=ppt/tags/tag10.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1.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2.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3.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4.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5.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6.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7.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18.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8.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9.xml><?xml version="1.0" encoding="utf-8"?>
<p:tagLst xmlns:a="http://schemas.openxmlformats.org/drawingml/2006/main" xmlns:r="http://schemas.openxmlformats.org/officeDocument/2006/relationships" xmlns:p="http://schemas.openxmlformats.org/presentationml/2006/main">
  <p:tag name="EE4P_STYLE_ID" val="73666fa3-d140-48c4-ba0c-eab8139be01b"/>
  <p:tag name="EE4P_STYLE_NAME" val="LPL-Tr-2023-02"/>
  <p:tag name="EE4P_SMART_ELEMENT" val="PercentBar"/>
  <p:tag name="EE4P_SMART_ELEMENT_XML" val="&lt;smartelement id=&quot;PercentBar&quot; label=&quot;1&quot; auto=&quot;0&quot; color=&quot;#000000&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heme/theme1.xml><?xml version="1.0" encoding="utf-8"?>
<a:theme xmlns:a="http://schemas.openxmlformats.org/drawingml/2006/main" name="Titel 3 deutsch">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LPL_2021-06-28" id="{3407251B-99E8-4566-B0BA-686C59C4081A}" vid="{F72F74F3-009D-46C6-942E-AD9DD6757431}"/>
    </a:ext>
  </a:extLst>
</a:theme>
</file>

<file path=ppt/theme/theme2.xml><?xml version="1.0" encoding="utf-8"?>
<a:theme xmlns:a="http://schemas.openxmlformats.org/drawingml/2006/main" name="UC-Template_Production-Operation_Twin">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LPL_2021-06-28" id="{3407251B-99E8-4566-B0BA-686C59C4081A}" vid="{F72F74F3-009D-46C6-942E-AD9DD6757431}"/>
    </a:ext>
  </a:extLst>
</a:theme>
</file>

<file path=ppt/theme/theme3.xml><?xml version="1.0" encoding="utf-8"?>
<a:theme xmlns:a="http://schemas.openxmlformats.org/drawingml/2006/main" name="UC-Template_Engineering_Twin">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LPL_2021-06-28" id="{3407251B-99E8-4566-B0BA-686C59C4081A}" vid="{F72F74F3-009D-46C6-942E-AD9DD6757431}"/>
    </a:ext>
  </a:extLst>
</a:theme>
</file>

<file path=ppt/theme/theme4.xml><?xml version="1.0" encoding="utf-8"?>
<a:theme xmlns:a="http://schemas.openxmlformats.org/drawingml/2006/main" name="1_UC-Template_Engineering_Twin">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LPL_2021-06-28" id="{3407251B-99E8-4566-B0BA-686C59C4081A}" vid="{F72F74F3-009D-46C6-942E-AD9DD6757431}"/>
    </a:ext>
  </a:ext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022</Words>
  <Application>Microsoft Office PowerPoint</Application>
  <PresentationFormat>On-screen Show (16:9)</PresentationFormat>
  <Paragraphs>270</Paragraphs>
  <Slides>21</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2" baseType="lpstr">
      <vt:lpstr>Arial</vt:lpstr>
      <vt:lpstr>Arial Black</vt:lpstr>
      <vt:lpstr>Calibri</vt:lpstr>
      <vt:lpstr>Courier New</vt:lpstr>
      <vt:lpstr>Symbol</vt:lpstr>
      <vt:lpstr>Wingdings</vt:lpstr>
      <vt:lpstr>Titel 3 deutsch</vt:lpstr>
      <vt:lpstr>UC-Template_Production-Operation_Twin</vt:lpstr>
      <vt:lpstr>UC-Template_Engineering_Twin</vt:lpstr>
      <vt:lpstr>1_UC-Template_Engineering_Twin</vt:lpstr>
      <vt:lpstr>think-cell Slide</vt:lpstr>
      <vt:lpstr>Title</vt:lpstr>
      <vt:lpstr>PowerPoint Presentation</vt:lpstr>
      <vt:lpstr>Production &amp; Operation Twins Overview</vt:lpstr>
      <vt:lpstr>Production &amp; Operation Twins As-Is Process</vt:lpstr>
      <vt:lpstr>Production &amp; Operation Twins As-Is Process Environment</vt:lpstr>
      <vt:lpstr>Production &amp; Operation Twins As-Is Data Structure</vt:lpstr>
      <vt:lpstr>Production &amp; Operation Twins Target Process</vt:lpstr>
      <vt:lpstr>Production &amp; Operation Twins Target Process Environment</vt:lpstr>
      <vt:lpstr>Production &amp; Operation Twins Target Data-Structure</vt:lpstr>
      <vt:lpstr>Production &amp; Operation Twins Business Model Canvas</vt:lpstr>
      <vt:lpstr>Production &amp; Operation Twins Roadmap</vt:lpstr>
      <vt:lpstr>Production &amp; Operation Twins Additional Information</vt:lpstr>
      <vt:lpstr>Engineering Twins Overview</vt:lpstr>
      <vt:lpstr>Engineering Twins As-Is Process</vt:lpstr>
      <vt:lpstr>Engineering Twins As-Is Data-Structure</vt:lpstr>
      <vt:lpstr>Engineering Twins Target Process</vt:lpstr>
      <vt:lpstr>Engineering Twins Target Data-Structure</vt:lpstr>
      <vt:lpstr>Engineering Twins Business Model Canvas</vt:lpstr>
      <vt:lpstr>Engineering Twins Roadmap</vt:lpstr>
      <vt:lpstr>Engineering Twins Target Additional Information</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kob Trauer</dc:creator>
  <cp:lastModifiedBy>Trauer</cp:lastModifiedBy>
  <cp:revision>421</cp:revision>
  <cp:lastPrinted>1999-12-31T23:00:00Z</cp:lastPrinted>
  <dcterms:created xsi:type="dcterms:W3CDTF">2023-08-14T08:40:32Z</dcterms:created>
  <dcterms:modified xsi:type="dcterms:W3CDTF">2023-08-17T14:23:49Z</dcterms:modified>
</cp:coreProperties>
</file>